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  <p:sldMasterId id="2147483710" r:id="rId5"/>
    <p:sldMasterId id="2147483698" r:id="rId6"/>
  </p:sldMasterIdLst>
  <p:notesMasterIdLst>
    <p:notesMasterId r:id="rId14"/>
  </p:notesMasterIdLst>
  <p:sldIdLst>
    <p:sldId id="256" r:id="rId7"/>
    <p:sldId id="457" r:id="rId8"/>
    <p:sldId id="460" r:id="rId9"/>
    <p:sldId id="466" r:id="rId10"/>
    <p:sldId id="465" r:id="rId11"/>
    <p:sldId id="461" r:id="rId12"/>
    <p:sldId id="463" r:id="rId13"/>
  </p:sldIdLst>
  <p:sldSz cx="13716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432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rbonnier, Maryjo" initials="CM" lastIdx="12" clrIdx="0"/>
  <p:cmAuthor id="2" name="Jaw, Jeff" initials="JJ" lastIdx="0" clrIdx="1">
    <p:extLst>
      <p:ext uri="{19B8F6BF-5375-455C-9EA6-DF929625EA0E}">
        <p15:presenceInfo xmlns:p15="http://schemas.microsoft.com/office/powerpoint/2012/main" userId="S-1-5-21-702074188-2833732907-241959117-4027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13F"/>
    <a:srgbClr val="FF9900"/>
    <a:srgbClr val="53C17D"/>
    <a:srgbClr val="E4AED5"/>
    <a:srgbClr val="842C6B"/>
    <a:srgbClr val="B33B91"/>
    <a:srgbClr val="511B42"/>
    <a:srgbClr val="D78517"/>
    <a:srgbClr val="9814BC"/>
    <a:srgbClr val="59BBB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926" autoAdjust="0"/>
    <p:restoredTop sz="94660"/>
  </p:normalViewPr>
  <p:slideViewPr>
    <p:cSldViewPr snapToGrid="0">
      <p:cViewPr varScale="1">
        <p:scale>
          <a:sx n="67" d="100"/>
          <a:sy n="67" d="100"/>
        </p:scale>
        <p:origin x="136" y="44"/>
      </p:cViewPr>
      <p:guideLst>
        <p:guide orient="horz" pos="2160"/>
        <p:guide pos="43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commentAuthors" Target="commentAuthors.xml"/><Relationship Id="rId10" Type="http://schemas.openxmlformats.org/officeDocument/2006/relationships/slide" Target="slides/slide4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CF2DCCA-02FE-4B38-A352-E359D488DEA4}" type="doc">
      <dgm:prSet loTypeId="urn:microsoft.com/office/officeart/2005/8/layout/cycle1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174D547-575E-4CA3-89BB-EE7C35DF09A6}">
      <dgm:prSet phldrT="[Text]" custT="1"/>
      <dgm:spPr/>
      <dgm:t>
        <a:bodyPr/>
        <a:lstStyle/>
        <a:p>
          <a:r>
            <a:rPr lang="en-US" sz="1200" dirty="0"/>
            <a:t>Code development – in IDE</a:t>
          </a:r>
        </a:p>
      </dgm:t>
    </dgm:pt>
    <dgm:pt modelId="{EEC30761-5114-4CBF-8F81-AAD74CF5258A}" type="parTrans" cxnId="{CEDD17F1-33CB-415C-B271-DE04012D882D}">
      <dgm:prSet/>
      <dgm:spPr/>
      <dgm:t>
        <a:bodyPr/>
        <a:lstStyle/>
        <a:p>
          <a:endParaRPr lang="en-US" sz="2800"/>
        </a:p>
      </dgm:t>
    </dgm:pt>
    <dgm:pt modelId="{89E2230A-6463-4865-BF68-648D026DE378}" type="sibTrans" cxnId="{CEDD17F1-33CB-415C-B271-DE04012D882D}">
      <dgm:prSet/>
      <dgm:spPr/>
      <dgm:t>
        <a:bodyPr/>
        <a:lstStyle/>
        <a:p>
          <a:endParaRPr lang="en-US" sz="2800"/>
        </a:p>
      </dgm:t>
    </dgm:pt>
    <dgm:pt modelId="{51370462-91D6-4A14-8452-DF7E1FD31707}">
      <dgm:prSet phldrT="[Text]" custT="1"/>
      <dgm:spPr/>
      <dgm:t>
        <a:bodyPr/>
        <a:lstStyle/>
        <a:p>
          <a:r>
            <a:rPr lang="en-US" sz="1200" dirty="0"/>
            <a:t>SVN </a:t>
          </a:r>
          <a:r>
            <a:rPr lang="en-US" sz="1200" dirty="0" err="1"/>
            <a:t>Checkin</a:t>
          </a:r>
          <a:endParaRPr lang="en-US" sz="1200" dirty="0"/>
        </a:p>
      </dgm:t>
    </dgm:pt>
    <dgm:pt modelId="{83F98837-662D-446D-A8A6-23C6F04E8DE9}" type="parTrans" cxnId="{0CFE07A9-B831-44CE-A7AD-981222C943E6}">
      <dgm:prSet/>
      <dgm:spPr/>
      <dgm:t>
        <a:bodyPr/>
        <a:lstStyle/>
        <a:p>
          <a:endParaRPr lang="en-US" sz="2800"/>
        </a:p>
      </dgm:t>
    </dgm:pt>
    <dgm:pt modelId="{7F63E38C-6D95-4657-8ABA-48418AFB5EF1}" type="sibTrans" cxnId="{0CFE07A9-B831-44CE-A7AD-981222C943E6}">
      <dgm:prSet/>
      <dgm:spPr/>
      <dgm:t>
        <a:bodyPr/>
        <a:lstStyle/>
        <a:p>
          <a:endParaRPr lang="en-US" sz="2800"/>
        </a:p>
      </dgm:t>
    </dgm:pt>
    <dgm:pt modelId="{468FFBD8-F4BD-4AF5-B65B-1D7F199AEB49}">
      <dgm:prSet phldrT="[Text]" custT="1"/>
      <dgm:spPr/>
      <dgm:t>
        <a:bodyPr/>
        <a:lstStyle/>
        <a:p>
          <a:r>
            <a:rPr lang="en-US" sz="1200" dirty="0"/>
            <a:t>Jenkins – Dev Build</a:t>
          </a:r>
        </a:p>
      </dgm:t>
    </dgm:pt>
    <dgm:pt modelId="{D6DB1827-AABD-40A0-9961-8606F83071E3}" type="parTrans" cxnId="{60114AF4-17AC-4CF9-898B-CE040A035D97}">
      <dgm:prSet/>
      <dgm:spPr/>
      <dgm:t>
        <a:bodyPr/>
        <a:lstStyle/>
        <a:p>
          <a:endParaRPr lang="en-US" sz="2800"/>
        </a:p>
      </dgm:t>
    </dgm:pt>
    <dgm:pt modelId="{D3FBF746-CB0B-4C13-827D-2FEA0893BD9C}" type="sibTrans" cxnId="{60114AF4-17AC-4CF9-898B-CE040A035D97}">
      <dgm:prSet/>
      <dgm:spPr/>
      <dgm:t>
        <a:bodyPr/>
        <a:lstStyle/>
        <a:p>
          <a:endParaRPr lang="en-US" sz="2800"/>
        </a:p>
      </dgm:t>
    </dgm:pt>
    <dgm:pt modelId="{96615FD9-77EB-4F9D-99DC-6338B5BA2041}">
      <dgm:prSet phldrT="[Text]" custT="1"/>
      <dgm:spPr/>
      <dgm:t>
        <a:bodyPr/>
        <a:lstStyle/>
        <a:p>
          <a:r>
            <a:rPr lang="en-US" sz="1200" dirty="0">
              <a:solidFill>
                <a:srgbClr val="FF0000"/>
              </a:solidFill>
            </a:rPr>
            <a:t>Secure Assist – in IDE – Catch Vulnerabilities at project level</a:t>
          </a:r>
        </a:p>
      </dgm:t>
    </dgm:pt>
    <dgm:pt modelId="{8CC42373-CB8B-4F95-85F6-37B37B24A443}" type="parTrans" cxnId="{0AF66D77-3155-4E6B-AE27-B6A8FFD67861}">
      <dgm:prSet/>
      <dgm:spPr/>
      <dgm:t>
        <a:bodyPr/>
        <a:lstStyle/>
        <a:p>
          <a:endParaRPr lang="en-US" sz="2800"/>
        </a:p>
      </dgm:t>
    </dgm:pt>
    <dgm:pt modelId="{501C0534-35AB-4ADC-812D-C79C6D400EEC}" type="sibTrans" cxnId="{0AF66D77-3155-4E6B-AE27-B6A8FFD67861}">
      <dgm:prSet/>
      <dgm:spPr/>
      <dgm:t>
        <a:bodyPr/>
        <a:lstStyle/>
        <a:p>
          <a:endParaRPr lang="en-US" sz="2800"/>
        </a:p>
      </dgm:t>
    </dgm:pt>
    <dgm:pt modelId="{8B6960F5-ABCC-409C-A4B8-E9BD879DBC4B}">
      <dgm:prSet phldrT="[Text]" custT="1"/>
      <dgm:spPr/>
      <dgm:t>
        <a:bodyPr/>
        <a:lstStyle/>
        <a:p>
          <a:r>
            <a:rPr lang="en-US" sz="1200" dirty="0"/>
            <a:t>Code Coverage Check from IDE – Target 90-95%</a:t>
          </a:r>
        </a:p>
      </dgm:t>
    </dgm:pt>
    <dgm:pt modelId="{AA54B131-D761-4EFC-BEED-991F5B25653A}" type="parTrans" cxnId="{3F922E07-1E02-4533-8FBE-28C61312CA9A}">
      <dgm:prSet/>
      <dgm:spPr/>
      <dgm:t>
        <a:bodyPr/>
        <a:lstStyle/>
        <a:p>
          <a:endParaRPr lang="en-US" sz="2800"/>
        </a:p>
      </dgm:t>
    </dgm:pt>
    <dgm:pt modelId="{3BB7E160-4F30-4821-91A8-0BF91293B2DC}" type="sibTrans" cxnId="{3F922E07-1E02-4533-8FBE-28C61312CA9A}">
      <dgm:prSet/>
      <dgm:spPr/>
      <dgm:t>
        <a:bodyPr/>
        <a:lstStyle/>
        <a:p>
          <a:endParaRPr lang="en-US" sz="2800"/>
        </a:p>
      </dgm:t>
    </dgm:pt>
    <dgm:pt modelId="{F39B1A52-0EA5-4B00-B9B1-BB1F47566723}">
      <dgm:prSet phldrT="[Text]" custT="1"/>
      <dgm:spPr/>
      <dgm:t>
        <a:bodyPr/>
        <a:lstStyle/>
        <a:p>
          <a:r>
            <a:rPr lang="en-US" sz="1200" dirty="0"/>
            <a:t>Jenkins CI- Additional check with </a:t>
          </a:r>
          <a:r>
            <a:rPr lang="en-US" sz="1200" dirty="0" err="1"/>
            <a:t>Coverity</a:t>
          </a:r>
          <a:r>
            <a:rPr lang="en-US" sz="1200" dirty="0"/>
            <a:t> &amp; Black Duck </a:t>
          </a:r>
          <a:r>
            <a:rPr lang="en-US" sz="1200" dirty="0" err="1"/>
            <a:t>Opensource</a:t>
          </a:r>
          <a:r>
            <a:rPr lang="en-US" sz="1200" dirty="0"/>
            <a:t> Scan</a:t>
          </a:r>
        </a:p>
      </dgm:t>
    </dgm:pt>
    <dgm:pt modelId="{9C5D295C-E019-4D0C-9994-2905BADDF995}" type="parTrans" cxnId="{4AD1EC35-5C2A-461D-A705-16A2AC835F9A}">
      <dgm:prSet/>
      <dgm:spPr/>
      <dgm:t>
        <a:bodyPr/>
        <a:lstStyle/>
        <a:p>
          <a:endParaRPr lang="en-US" sz="2800"/>
        </a:p>
      </dgm:t>
    </dgm:pt>
    <dgm:pt modelId="{9974296F-9E71-4D9E-9C6F-9EFD8D9D86D2}" type="sibTrans" cxnId="{4AD1EC35-5C2A-461D-A705-16A2AC835F9A}">
      <dgm:prSet/>
      <dgm:spPr/>
      <dgm:t>
        <a:bodyPr/>
        <a:lstStyle/>
        <a:p>
          <a:endParaRPr lang="en-US" sz="2800"/>
        </a:p>
      </dgm:t>
    </dgm:pt>
    <dgm:pt modelId="{B19A770F-98BC-44DA-A696-EFBE9E1E51E8}">
      <dgm:prSet phldrT="[Text]" custT="1"/>
      <dgm:spPr/>
      <dgm:t>
        <a:bodyPr/>
        <a:lstStyle/>
        <a:p>
          <a:r>
            <a:rPr lang="en-US" sz="1200" dirty="0"/>
            <a:t>Jenkins – Deploy  (By Developer)</a:t>
          </a:r>
        </a:p>
      </dgm:t>
    </dgm:pt>
    <dgm:pt modelId="{F19CE335-EA62-4A7D-999D-C93662F53F09}" type="parTrans" cxnId="{6C5E8338-C1D1-4DBB-A091-8E460624A335}">
      <dgm:prSet/>
      <dgm:spPr/>
      <dgm:t>
        <a:bodyPr/>
        <a:lstStyle/>
        <a:p>
          <a:endParaRPr lang="en-US" sz="2800"/>
        </a:p>
      </dgm:t>
    </dgm:pt>
    <dgm:pt modelId="{498C232E-2515-4515-B4ED-1EC610DB1F25}" type="sibTrans" cxnId="{6C5E8338-C1D1-4DBB-A091-8E460624A335}">
      <dgm:prSet/>
      <dgm:spPr/>
      <dgm:t>
        <a:bodyPr/>
        <a:lstStyle/>
        <a:p>
          <a:endParaRPr lang="en-US" sz="3200"/>
        </a:p>
      </dgm:t>
    </dgm:pt>
    <dgm:pt modelId="{B9D34585-BA41-42EF-ACC1-9D73A510D333}">
      <dgm:prSet phldrT="[Text]" custT="1"/>
      <dgm:spPr/>
      <dgm:t>
        <a:bodyPr/>
        <a:lstStyle/>
        <a:p>
          <a:r>
            <a:rPr lang="en-US" sz="1200" dirty="0"/>
            <a:t>Jenkins – Deploy (By Dev Ops)</a:t>
          </a:r>
        </a:p>
      </dgm:t>
    </dgm:pt>
    <dgm:pt modelId="{045E3CEA-A312-4841-AEBD-BE38CB009FA0}" type="parTrans" cxnId="{14F6A318-46BC-4505-B57D-6E05362AD421}">
      <dgm:prSet/>
      <dgm:spPr/>
      <dgm:t>
        <a:bodyPr/>
        <a:lstStyle/>
        <a:p>
          <a:endParaRPr lang="en-US" sz="2800"/>
        </a:p>
      </dgm:t>
    </dgm:pt>
    <dgm:pt modelId="{DA6673B7-CDEF-4CDB-B124-E5B7C305A0A5}" type="sibTrans" cxnId="{14F6A318-46BC-4505-B57D-6E05362AD421}">
      <dgm:prSet/>
      <dgm:spPr/>
      <dgm:t>
        <a:bodyPr/>
        <a:lstStyle/>
        <a:p>
          <a:endParaRPr lang="en-US" sz="2800"/>
        </a:p>
      </dgm:t>
    </dgm:pt>
    <dgm:pt modelId="{E0A9B9D1-C735-45D6-AC6C-1FEEBF06DD91}" type="pres">
      <dgm:prSet presAssocID="{ACF2DCCA-02FE-4B38-A352-E359D488DEA4}" presName="cycle" presStyleCnt="0">
        <dgm:presLayoutVars>
          <dgm:dir/>
          <dgm:resizeHandles val="exact"/>
        </dgm:presLayoutVars>
      </dgm:prSet>
      <dgm:spPr/>
    </dgm:pt>
    <dgm:pt modelId="{D260F4C8-7CD1-434D-9E16-F86C84B26534}" type="pres">
      <dgm:prSet presAssocID="{5174D547-575E-4CA3-89BB-EE7C35DF09A6}" presName="dummy" presStyleCnt="0"/>
      <dgm:spPr/>
    </dgm:pt>
    <dgm:pt modelId="{D8DAF2EF-F9ED-4062-856F-F1099E198B3F}" type="pres">
      <dgm:prSet presAssocID="{5174D547-575E-4CA3-89BB-EE7C35DF09A6}" presName="node" presStyleLbl="revTx" presStyleIdx="0" presStyleCnt="8">
        <dgm:presLayoutVars>
          <dgm:bulletEnabled val="1"/>
        </dgm:presLayoutVars>
      </dgm:prSet>
      <dgm:spPr/>
    </dgm:pt>
    <dgm:pt modelId="{39664B46-192F-4BCD-A87E-C0CE3235E4B2}" type="pres">
      <dgm:prSet presAssocID="{89E2230A-6463-4865-BF68-648D026DE378}" presName="sibTrans" presStyleLbl="node1" presStyleIdx="0" presStyleCnt="8"/>
      <dgm:spPr/>
    </dgm:pt>
    <dgm:pt modelId="{D818D1BD-F8B5-4CF7-91E3-5D97CC3B658E}" type="pres">
      <dgm:prSet presAssocID="{96615FD9-77EB-4F9D-99DC-6338B5BA2041}" presName="dummy" presStyleCnt="0"/>
      <dgm:spPr/>
    </dgm:pt>
    <dgm:pt modelId="{70A9F766-6420-4637-8E68-928451AAE235}" type="pres">
      <dgm:prSet presAssocID="{96615FD9-77EB-4F9D-99DC-6338B5BA2041}" presName="node" presStyleLbl="revTx" presStyleIdx="1" presStyleCnt="8">
        <dgm:presLayoutVars>
          <dgm:bulletEnabled val="1"/>
        </dgm:presLayoutVars>
      </dgm:prSet>
      <dgm:spPr/>
    </dgm:pt>
    <dgm:pt modelId="{12B27996-C7A8-4ED3-BE9B-20DCA30D7155}" type="pres">
      <dgm:prSet presAssocID="{501C0534-35AB-4ADC-812D-C79C6D400EEC}" presName="sibTrans" presStyleLbl="node1" presStyleIdx="1" presStyleCnt="8"/>
      <dgm:spPr/>
    </dgm:pt>
    <dgm:pt modelId="{1513CDE6-EE49-4153-8134-231B087D88DA}" type="pres">
      <dgm:prSet presAssocID="{8B6960F5-ABCC-409C-A4B8-E9BD879DBC4B}" presName="dummy" presStyleCnt="0"/>
      <dgm:spPr/>
    </dgm:pt>
    <dgm:pt modelId="{4DD734DD-871C-44EF-9612-9D22D5B1ED4D}" type="pres">
      <dgm:prSet presAssocID="{8B6960F5-ABCC-409C-A4B8-E9BD879DBC4B}" presName="node" presStyleLbl="revTx" presStyleIdx="2" presStyleCnt="8">
        <dgm:presLayoutVars>
          <dgm:bulletEnabled val="1"/>
        </dgm:presLayoutVars>
      </dgm:prSet>
      <dgm:spPr/>
    </dgm:pt>
    <dgm:pt modelId="{79B8D80B-82FA-468D-8754-A8B85E348D2D}" type="pres">
      <dgm:prSet presAssocID="{3BB7E160-4F30-4821-91A8-0BF91293B2DC}" presName="sibTrans" presStyleLbl="node1" presStyleIdx="2" presStyleCnt="8"/>
      <dgm:spPr/>
    </dgm:pt>
    <dgm:pt modelId="{E81DD36C-5B42-4583-A23D-1579C2B9492F}" type="pres">
      <dgm:prSet presAssocID="{51370462-91D6-4A14-8452-DF7E1FD31707}" presName="dummy" presStyleCnt="0"/>
      <dgm:spPr/>
    </dgm:pt>
    <dgm:pt modelId="{D21413E3-B781-4A7F-8705-ED617ABD0ADE}" type="pres">
      <dgm:prSet presAssocID="{51370462-91D6-4A14-8452-DF7E1FD31707}" presName="node" presStyleLbl="revTx" presStyleIdx="3" presStyleCnt="8">
        <dgm:presLayoutVars>
          <dgm:bulletEnabled val="1"/>
        </dgm:presLayoutVars>
      </dgm:prSet>
      <dgm:spPr/>
    </dgm:pt>
    <dgm:pt modelId="{0D695A61-7583-46A4-B935-5936E274923C}" type="pres">
      <dgm:prSet presAssocID="{7F63E38C-6D95-4657-8ABA-48418AFB5EF1}" presName="sibTrans" presStyleLbl="node1" presStyleIdx="3" presStyleCnt="8"/>
      <dgm:spPr/>
    </dgm:pt>
    <dgm:pt modelId="{5874B4B9-C780-41EC-A2FF-57598602DFF2}" type="pres">
      <dgm:prSet presAssocID="{F39B1A52-0EA5-4B00-B9B1-BB1F47566723}" presName="dummy" presStyleCnt="0"/>
      <dgm:spPr/>
    </dgm:pt>
    <dgm:pt modelId="{37C70EFF-DCE9-4C6C-B65C-19A00787BCD3}" type="pres">
      <dgm:prSet presAssocID="{F39B1A52-0EA5-4B00-B9B1-BB1F47566723}" presName="node" presStyleLbl="revTx" presStyleIdx="4" presStyleCnt="8">
        <dgm:presLayoutVars>
          <dgm:bulletEnabled val="1"/>
        </dgm:presLayoutVars>
      </dgm:prSet>
      <dgm:spPr/>
    </dgm:pt>
    <dgm:pt modelId="{2AEB5A8B-1576-4861-BE7F-E401AE4A28BE}" type="pres">
      <dgm:prSet presAssocID="{9974296F-9E71-4D9E-9C6F-9EFD8D9D86D2}" presName="sibTrans" presStyleLbl="node1" presStyleIdx="4" presStyleCnt="8"/>
      <dgm:spPr/>
    </dgm:pt>
    <dgm:pt modelId="{645DBF89-259B-4AA3-A3DB-DAD4A0C3D263}" type="pres">
      <dgm:prSet presAssocID="{468FFBD8-F4BD-4AF5-B65B-1D7F199AEB49}" presName="dummy" presStyleCnt="0"/>
      <dgm:spPr/>
    </dgm:pt>
    <dgm:pt modelId="{AB8D9198-B17C-450E-B167-4CDF496D3B93}" type="pres">
      <dgm:prSet presAssocID="{468FFBD8-F4BD-4AF5-B65B-1D7F199AEB49}" presName="node" presStyleLbl="revTx" presStyleIdx="5" presStyleCnt="8">
        <dgm:presLayoutVars>
          <dgm:bulletEnabled val="1"/>
        </dgm:presLayoutVars>
      </dgm:prSet>
      <dgm:spPr/>
    </dgm:pt>
    <dgm:pt modelId="{786C62F9-9672-4779-839E-8F7AAB6449E6}" type="pres">
      <dgm:prSet presAssocID="{D3FBF746-CB0B-4C13-827D-2FEA0893BD9C}" presName="sibTrans" presStyleLbl="node1" presStyleIdx="5" presStyleCnt="8"/>
      <dgm:spPr/>
    </dgm:pt>
    <dgm:pt modelId="{CC7FF188-69FC-47A7-9344-3B9BE804B3A2}" type="pres">
      <dgm:prSet presAssocID="{B19A770F-98BC-44DA-A696-EFBE9E1E51E8}" presName="dummy" presStyleCnt="0"/>
      <dgm:spPr/>
    </dgm:pt>
    <dgm:pt modelId="{80F2CA3E-A214-455C-A7AA-C101644CE17D}" type="pres">
      <dgm:prSet presAssocID="{B19A770F-98BC-44DA-A696-EFBE9E1E51E8}" presName="node" presStyleLbl="revTx" presStyleIdx="6" presStyleCnt="8">
        <dgm:presLayoutVars>
          <dgm:bulletEnabled val="1"/>
        </dgm:presLayoutVars>
      </dgm:prSet>
      <dgm:spPr/>
    </dgm:pt>
    <dgm:pt modelId="{9928ABA6-C7A6-48DD-84B5-335134C3BCFC}" type="pres">
      <dgm:prSet presAssocID="{498C232E-2515-4515-B4ED-1EC610DB1F25}" presName="sibTrans" presStyleLbl="node1" presStyleIdx="6" presStyleCnt="8"/>
      <dgm:spPr/>
    </dgm:pt>
    <dgm:pt modelId="{3E63AE91-1420-4E03-AEA5-06F8AD51F0F2}" type="pres">
      <dgm:prSet presAssocID="{B9D34585-BA41-42EF-ACC1-9D73A510D333}" presName="dummy" presStyleCnt="0"/>
      <dgm:spPr/>
    </dgm:pt>
    <dgm:pt modelId="{CE226930-F8B8-45EC-B406-855790FCE004}" type="pres">
      <dgm:prSet presAssocID="{B9D34585-BA41-42EF-ACC1-9D73A510D333}" presName="node" presStyleLbl="revTx" presStyleIdx="7" presStyleCnt="8">
        <dgm:presLayoutVars>
          <dgm:bulletEnabled val="1"/>
        </dgm:presLayoutVars>
      </dgm:prSet>
      <dgm:spPr/>
    </dgm:pt>
    <dgm:pt modelId="{CED64963-3587-4DC5-A7A3-D81FBCC725E8}" type="pres">
      <dgm:prSet presAssocID="{DA6673B7-CDEF-4CDB-B124-E5B7C305A0A5}" presName="sibTrans" presStyleLbl="node1" presStyleIdx="7" presStyleCnt="8"/>
      <dgm:spPr/>
    </dgm:pt>
  </dgm:ptLst>
  <dgm:cxnLst>
    <dgm:cxn modelId="{9FA76500-89E6-4458-BEE2-E8708029D2B4}" type="presOf" srcId="{51370462-91D6-4A14-8452-DF7E1FD31707}" destId="{D21413E3-B781-4A7F-8705-ED617ABD0ADE}" srcOrd="0" destOrd="0" presId="urn:microsoft.com/office/officeart/2005/8/layout/cycle1"/>
    <dgm:cxn modelId="{6F66AD05-53A4-4815-89BB-9625B4028517}" type="presOf" srcId="{89E2230A-6463-4865-BF68-648D026DE378}" destId="{39664B46-192F-4BCD-A87E-C0CE3235E4B2}" srcOrd="0" destOrd="0" presId="urn:microsoft.com/office/officeart/2005/8/layout/cycle1"/>
    <dgm:cxn modelId="{3F922E07-1E02-4533-8FBE-28C61312CA9A}" srcId="{ACF2DCCA-02FE-4B38-A352-E359D488DEA4}" destId="{8B6960F5-ABCC-409C-A4B8-E9BD879DBC4B}" srcOrd="2" destOrd="0" parTransId="{AA54B131-D761-4EFC-BEED-991F5B25653A}" sibTransId="{3BB7E160-4F30-4821-91A8-0BF91293B2DC}"/>
    <dgm:cxn modelId="{1EE7B70A-FDB6-4EC1-919D-16FE0DF8A9A0}" type="presOf" srcId="{5174D547-575E-4CA3-89BB-EE7C35DF09A6}" destId="{D8DAF2EF-F9ED-4062-856F-F1099E198B3F}" srcOrd="0" destOrd="0" presId="urn:microsoft.com/office/officeart/2005/8/layout/cycle1"/>
    <dgm:cxn modelId="{1777100B-C34E-4DE5-8ADF-0FD4E08B7796}" type="presOf" srcId="{7F63E38C-6D95-4657-8ABA-48418AFB5EF1}" destId="{0D695A61-7583-46A4-B935-5936E274923C}" srcOrd="0" destOrd="0" presId="urn:microsoft.com/office/officeart/2005/8/layout/cycle1"/>
    <dgm:cxn modelId="{14F6A318-46BC-4505-B57D-6E05362AD421}" srcId="{ACF2DCCA-02FE-4B38-A352-E359D488DEA4}" destId="{B9D34585-BA41-42EF-ACC1-9D73A510D333}" srcOrd="7" destOrd="0" parTransId="{045E3CEA-A312-4841-AEBD-BE38CB009FA0}" sibTransId="{DA6673B7-CDEF-4CDB-B124-E5B7C305A0A5}"/>
    <dgm:cxn modelId="{004F3C22-4879-4D71-B4D5-AEF7EEB345AD}" type="presOf" srcId="{501C0534-35AB-4ADC-812D-C79C6D400EEC}" destId="{12B27996-C7A8-4ED3-BE9B-20DCA30D7155}" srcOrd="0" destOrd="0" presId="urn:microsoft.com/office/officeart/2005/8/layout/cycle1"/>
    <dgm:cxn modelId="{BFC48922-C2DC-4C4E-8948-050E538F30F4}" type="presOf" srcId="{9974296F-9E71-4D9E-9C6F-9EFD8D9D86D2}" destId="{2AEB5A8B-1576-4861-BE7F-E401AE4A28BE}" srcOrd="0" destOrd="0" presId="urn:microsoft.com/office/officeart/2005/8/layout/cycle1"/>
    <dgm:cxn modelId="{11885526-80AC-4F73-BAA5-9C3CD16E0AE9}" type="presOf" srcId="{498C232E-2515-4515-B4ED-1EC610DB1F25}" destId="{9928ABA6-C7A6-48DD-84B5-335134C3BCFC}" srcOrd="0" destOrd="0" presId="urn:microsoft.com/office/officeart/2005/8/layout/cycle1"/>
    <dgm:cxn modelId="{9ECF1D31-883A-4B9F-9984-FB8ECE7C5ECC}" type="presOf" srcId="{ACF2DCCA-02FE-4B38-A352-E359D488DEA4}" destId="{E0A9B9D1-C735-45D6-AC6C-1FEEBF06DD91}" srcOrd="0" destOrd="0" presId="urn:microsoft.com/office/officeart/2005/8/layout/cycle1"/>
    <dgm:cxn modelId="{4AD1EC35-5C2A-461D-A705-16A2AC835F9A}" srcId="{ACF2DCCA-02FE-4B38-A352-E359D488DEA4}" destId="{F39B1A52-0EA5-4B00-B9B1-BB1F47566723}" srcOrd="4" destOrd="0" parTransId="{9C5D295C-E019-4D0C-9994-2905BADDF995}" sibTransId="{9974296F-9E71-4D9E-9C6F-9EFD8D9D86D2}"/>
    <dgm:cxn modelId="{6C5E8338-C1D1-4DBB-A091-8E460624A335}" srcId="{ACF2DCCA-02FE-4B38-A352-E359D488DEA4}" destId="{B19A770F-98BC-44DA-A696-EFBE9E1E51E8}" srcOrd="6" destOrd="0" parTransId="{F19CE335-EA62-4A7D-999D-C93662F53F09}" sibTransId="{498C232E-2515-4515-B4ED-1EC610DB1F25}"/>
    <dgm:cxn modelId="{2742953B-4EAE-4478-B173-A3C332931EA5}" type="presOf" srcId="{D3FBF746-CB0B-4C13-827D-2FEA0893BD9C}" destId="{786C62F9-9672-4779-839E-8F7AAB6449E6}" srcOrd="0" destOrd="0" presId="urn:microsoft.com/office/officeart/2005/8/layout/cycle1"/>
    <dgm:cxn modelId="{28BB1B3E-7353-4C15-8DE1-2A62500F997B}" type="presOf" srcId="{3BB7E160-4F30-4821-91A8-0BF91293B2DC}" destId="{79B8D80B-82FA-468D-8754-A8B85E348D2D}" srcOrd="0" destOrd="0" presId="urn:microsoft.com/office/officeart/2005/8/layout/cycle1"/>
    <dgm:cxn modelId="{FDAB3B4B-47DD-43F0-9613-FFC00DBF2DEF}" type="presOf" srcId="{B19A770F-98BC-44DA-A696-EFBE9E1E51E8}" destId="{80F2CA3E-A214-455C-A7AA-C101644CE17D}" srcOrd="0" destOrd="0" presId="urn:microsoft.com/office/officeart/2005/8/layout/cycle1"/>
    <dgm:cxn modelId="{0AF66D77-3155-4E6B-AE27-B6A8FFD67861}" srcId="{ACF2DCCA-02FE-4B38-A352-E359D488DEA4}" destId="{96615FD9-77EB-4F9D-99DC-6338B5BA2041}" srcOrd="1" destOrd="0" parTransId="{8CC42373-CB8B-4F95-85F6-37B37B24A443}" sibTransId="{501C0534-35AB-4ADC-812D-C79C6D400EEC}"/>
    <dgm:cxn modelId="{71DB3A82-5138-4DD1-AB66-74D658D283D8}" type="presOf" srcId="{F39B1A52-0EA5-4B00-B9B1-BB1F47566723}" destId="{37C70EFF-DCE9-4C6C-B65C-19A00787BCD3}" srcOrd="0" destOrd="0" presId="urn:microsoft.com/office/officeart/2005/8/layout/cycle1"/>
    <dgm:cxn modelId="{59F69494-6C0F-4230-B94A-A0446E6B9DDA}" type="presOf" srcId="{96615FD9-77EB-4F9D-99DC-6338B5BA2041}" destId="{70A9F766-6420-4637-8E68-928451AAE235}" srcOrd="0" destOrd="0" presId="urn:microsoft.com/office/officeart/2005/8/layout/cycle1"/>
    <dgm:cxn modelId="{B84B54A0-7466-4FE4-9DBF-4702C5C00EC9}" type="presOf" srcId="{468FFBD8-F4BD-4AF5-B65B-1D7F199AEB49}" destId="{AB8D9198-B17C-450E-B167-4CDF496D3B93}" srcOrd="0" destOrd="0" presId="urn:microsoft.com/office/officeart/2005/8/layout/cycle1"/>
    <dgm:cxn modelId="{406FF2A2-58B5-43BB-A184-342DCB51EA99}" type="presOf" srcId="{B9D34585-BA41-42EF-ACC1-9D73A510D333}" destId="{CE226930-F8B8-45EC-B406-855790FCE004}" srcOrd="0" destOrd="0" presId="urn:microsoft.com/office/officeart/2005/8/layout/cycle1"/>
    <dgm:cxn modelId="{0CFE07A9-B831-44CE-A7AD-981222C943E6}" srcId="{ACF2DCCA-02FE-4B38-A352-E359D488DEA4}" destId="{51370462-91D6-4A14-8452-DF7E1FD31707}" srcOrd="3" destOrd="0" parTransId="{83F98837-662D-446D-A8A6-23C6F04E8DE9}" sibTransId="{7F63E38C-6D95-4657-8ABA-48418AFB5EF1}"/>
    <dgm:cxn modelId="{93A980AB-C265-44E4-81DD-3E134F76C986}" type="presOf" srcId="{8B6960F5-ABCC-409C-A4B8-E9BD879DBC4B}" destId="{4DD734DD-871C-44EF-9612-9D22D5B1ED4D}" srcOrd="0" destOrd="0" presId="urn:microsoft.com/office/officeart/2005/8/layout/cycle1"/>
    <dgm:cxn modelId="{E7B598D6-B0CC-43F8-B545-7A1063049879}" type="presOf" srcId="{DA6673B7-CDEF-4CDB-B124-E5B7C305A0A5}" destId="{CED64963-3587-4DC5-A7A3-D81FBCC725E8}" srcOrd="0" destOrd="0" presId="urn:microsoft.com/office/officeart/2005/8/layout/cycle1"/>
    <dgm:cxn modelId="{CEDD17F1-33CB-415C-B271-DE04012D882D}" srcId="{ACF2DCCA-02FE-4B38-A352-E359D488DEA4}" destId="{5174D547-575E-4CA3-89BB-EE7C35DF09A6}" srcOrd="0" destOrd="0" parTransId="{EEC30761-5114-4CBF-8F81-AAD74CF5258A}" sibTransId="{89E2230A-6463-4865-BF68-648D026DE378}"/>
    <dgm:cxn modelId="{60114AF4-17AC-4CF9-898B-CE040A035D97}" srcId="{ACF2DCCA-02FE-4B38-A352-E359D488DEA4}" destId="{468FFBD8-F4BD-4AF5-B65B-1D7F199AEB49}" srcOrd="5" destOrd="0" parTransId="{D6DB1827-AABD-40A0-9961-8606F83071E3}" sibTransId="{D3FBF746-CB0B-4C13-827D-2FEA0893BD9C}"/>
    <dgm:cxn modelId="{75404813-A301-4D94-BB9F-361B2896AAE8}" type="presParOf" srcId="{E0A9B9D1-C735-45D6-AC6C-1FEEBF06DD91}" destId="{D260F4C8-7CD1-434D-9E16-F86C84B26534}" srcOrd="0" destOrd="0" presId="urn:microsoft.com/office/officeart/2005/8/layout/cycle1"/>
    <dgm:cxn modelId="{B282228E-10C8-48CC-BCE4-DC055B911813}" type="presParOf" srcId="{E0A9B9D1-C735-45D6-AC6C-1FEEBF06DD91}" destId="{D8DAF2EF-F9ED-4062-856F-F1099E198B3F}" srcOrd="1" destOrd="0" presId="urn:microsoft.com/office/officeart/2005/8/layout/cycle1"/>
    <dgm:cxn modelId="{493E1046-7816-4B1F-9227-ECB506ECC4D2}" type="presParOf" srcId="{E0A9B9D1-C735-45D6-AC6C-1FEEBF06DD91}" destId="{39664B46-192F-4BCD-A87E-C0CE3235E4B2}" srcOrd="2" destOrd="0" presId="urn:microsoft.com/office/officeart/2005/8/layout/cycle1"/>
    <dgm:cxn modelId="{056E67D7-22A3-4C12-ABE9-2F44E2B0E16D}" type="presParOf" srcId="{E0A9B9D1-C735-45D6-AC6C-1FEEBF06DD91}" destId="{D818D1BD-F8B5-4CF7-91E3-5D97CC3B658E}" srcOrd="3" destOrd="0" presId="urn:microsoft.com/office/officeart/2005/8/layout/cycle1"/>
    <dgm:cxn modelId="{719C664F-7161-433B-996C-F7CBB20E12C6}" type="presParOf" srcId="{E0A9B9D1-C735-45D6-AC6C-1FEEBF06DD91}" destId="{70A9F766-6420-4637-8E68-928451AAE235}" srcOrd="4" destOrd="0" presId="urn:microsoft.com/office/officeart/2005/8/layout/cycle1"/>
    <dgm:cxn modelId="{041B47AB-F384-470C-B65C-7B4C7FE166AB}" type="presParOf" srcId="{E0A9B9D1-C735-45D6-AC6C-1FEEBF06DD91}" destId="{12B27996-C7A8-4ED3-BE9B-20DCA30D7155}" srcOrd="5" destOrd="0" presId="urn:microsoft.com/office/officeart/2005/8/layout/cycle1"/>
    <dgm:cxn modelId="{12654BCF-4849-464A-A815-18D2F4ABEBB1}" type="presParOf" srcId="{E0A9B9D1-C735-45D6-AC6C-1FEEBF06DD91}" destId="{1513CDE6-EE49-4153-8134-231B087D88DA}" srcOrd="6" destOrd="0" presId="urn:microsoft.com/office/officeart/2005/8/layout/cycle1"/>
    <dgm:cxn modelId="{302CE172-AAFE-4861-83C6-C4385E5AF13C}" type="presParOf" srcId="{E0A9B9D1-C735-45D6-AC6C-1FEEBF06DD91}" destId="{4DD734DD-871C-44EF-9612-9D22D5B1ED4D}" srcOrd="7" destOrd="0" presId="urn:microsoft.com/office/officeart/2005/8/layout/cycle1"/>
    <dgm:cxn modelId="{8ACBF7C5-F3C1-453C-ACC1-05BBFEB216A9}" type="presParOf" srcId="{E0A9B9D1-C735-45D6-AC6C-1FEEBF06DD91}" destId="{79B8D80B-82FA-468D-8754-A8B85E348D2D}" srcOrd="8" destOrd="0" presId="urn:microsoft.com/office/officeart/2005/8/layout/cycle1"/>
    <dgm:cxn modelId="{1AC59AC1-0F28-4369-9FDF-FA9F6F2035D2}" type="presParOf" srcId="{E0A9B9D1-C735-45D6-AC6C-1FEEBF06DD91}" destId="{E81DD36C-5B42-4583-A23D-1579C2B9492F}" srcOrd="9" destOrd="0" presId="urn:microsoft.com/office/officeart/2005/8/layout/cycle1"/>
    <dgm:cxn modelId="{7C1394FF-6AAD-4A32-B3B7-06147B810BBE}" type="presParOf" srcId="{E0A9B9D1-C735-45D6-AC6C-1FEEBF06DD91}" destId="{D21413E3-B781-4A7F-8705-ED617ABD0ADE}" srcOrd="10" destOrd="0" presId="urn:microsoft.com/office/officeart/2005/8/layout/cycle1"/>
    <dgm:cxn modelId="{1E41BBDD-D612-48C2-869D-ACF7190A42B8}" type="presParOf" srcId="{E0A9B9D1-C735-45D6-AC6C-1FEEBF06DD91}" destId="{0D695A61-7583-46A4-B935-5936E274923C}" srcOrd="11" destOrd="0" presId="urn:microsoft.com/office/officeart/2005/8/layout/cycle1"/>
    <dgm:cxn modelId="{79EAB5DC-7409-4D97-AC71-9126A53A2B77}" type="presParOf" srcId="{E0A9B9D1-C735-45D6-AC6C-1FEEBF06DD91}" destId="{5874B4B9-C780-41EC-A2FF-57598602DFF2}" srcOrd="12" destOrd="0" presId="urn:microsoft.com/office/officeart/2005/8/layout/cycle1"/>
    <dgm:cxn modelId="{5A719A64-5982-4FBE-99E8-DC78A0467376}" type="presParOf" srcId="{E0A9B9D1-C735-45D6-AC6C-1FEEBF06DD91}" destId="{37C70EFF-DCE9-4C6C-B65C-19A00787BCD3}" srcOrd="13" destOrd="0" presId="urn:microsoft.com/office/officeart/2005/8/layout/cycle1"/>
    <dgm:cxn modelId="{444C36E8-EA02-4606-AA05-87D2893C4395}" type="presParOf" srcId="{E0A9B9D1-C735-45D6-AC6C-1FEEBF06DD91}" destId="{2AEB5A8B-1576-4861-BE7F-E401AE4A28BE}" srcOrd="14" destOrd="0" presId="urn:microsoft.com/office/officeart/2005/8/layout/cycle1"/>
    <dgm:cxn modelId="{7829396B-D87F-4C2B-903E-0D577C87E74A}" type="presParOf" srcId="{E0A9B9D1-C735-45D6-AC6C-1FEEBF06DD91}" destId="{645DBF89-259B-4AA3-A3DB-DAD4A0C3D263}" srcOrd="15" destOrd="0" presId="urn:microsoft.com/office/officeart/2005/8/layout/cycle1"/>
    <dgm:cxn modelId="{6EECE7DD-0B08-4609-94E5-C2EB82C007D3}" type="presParOf" srcId="{E0A9B9D1-C735-45D6-AC6C-1FEEBF06DD91}" destId="{AB8D9198-B17C-450E-B167-4CDF496D3B93}" srcOrd="16" destOrd="0" presId="urn:microsoft.com/office/officeart/2005/8/layout/cycle1"/>
    <dgm:cxn modelId="{3355D719-FF2E-4BC6-96D7-76E19D2B78D5}" type="presParOf" srcId="{E0A9B9D1-C735-45D6-AC6C-1FEEBF06DD91}" destId="{786C62F9-9672-4779-839E-8F7AAB6449E6}" srcOrd="17" destOrd="0" presId="urn:microsoft.com/office/officeart/2005/8/layout/cycle1"/>
    <dgm:cxn modelId="{E95F222A-2294-4C11-9238-F31E48CF0461}" type="presParOf" srcId="{E0A9B9D1-C735-45D6-AC6C-1FEEBF06DD91}" destId="{CC7FF188-69FC-47A7-9344-3B9BE804B3A2}" srcOrd="18" destOrd="0" presId="urn:microsoft.com/office/officeart/2005/8/layout/cycle1"/>
    <dgm:cxn modelId="{6492DB39-DB8C-440F-BF87-BC915D21F9E7}" type="presParOf" srcId="{E0A9B9D1-C735-45D6-AC6C-1FEEBF06DD91}" destId="{80F2CA3E-A214-455C-A7AA-C101644CE17D}" srcOrd="19" destOrd="0" presId="urn:microsoft.com/office/officeart/2005/8/layout/cycle1"/>
    <dgm:cxn modelId="{59CA33E7-EBCA-451D-8679-E05B3C809145}" type="presParOf" srcId="{E0A9B9D1-C735-45D6-AC6C-1FEEBF06DD91}" destId="{9928ABA6-C7A6-48DD-84B5-335134C3BCFC}" srcOrd="20" destOrd="0" presId="urn:microsoft.com/office/officeart/2005/8/layout/cycle1"/>
    <dgm:cxn modelId="{B9DD85B5-136A-410E-A0B0-566714E6E0E8}" type="presParOf" srcId="{E0A9B9D1-C735-45D6-AC6C-1FEEBF06DD91}" destId="{3E63AE91-1420-4E03-AEA5-06F8AD51F0F2}" srcOrd="21" destOrd="0" presId="urn:microsoft.com/office/officeart/2005/8/layout/cycle1"/>
    <dgm:cxn modelId="{5230A18D-72E7-4D66-9A84-D920A98EFEF3}" type="presParOf" srcId="{E0A9B9D1-C735-45D6-AC6C-1FEEBF06DD91}" destId="{CE226930-F8B8-45EC-B406-855790FCE004}" srcOrd="22" destOrd="0" presId="urn:microsoft.com/office/officeart/2005/8/layout/cycle1"/>
    <dgm:cxn modelId="{74C697DD-26ED-42D1-A17D-93A2FFD2416C}" type="presParOf" srcId="{E0A9B9D1-C735-45D6-AC6C-1FEEBF06DD91}" destId="{CED64963-3587-4DC5-A7A3-D81FBCC725E8}" srcOrd="23" destOrd="0" presId="urn:microsoft.com/office/officeart/2005/8/layout/cycle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CF2DCCA-02FE-4B38-A352-E359D488DEA4}" type="doc">
      <dgm:prSet loTypeId="urn:microsoft.com/office/officeart/2005/8/layout/cycle1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174D547-575E-4CA3-89BB-EE7C35DF09A6}">
      <dgm:prSet phldrT="[Text]" custT="1"/>
      <dgm:spPr/>
      <dgm:t>
        <a:bodyPr/>
        <a:lstStyle/>
        <a:p>
          <a:r>
            <a:rPr lang="en-US" sz="1200" dirty="0"/>
            <a:t>Code development – in IDE</a:t>
          </a:r>
        </a:p>
      </dgm:t>
    </dgm:pt>
    <dgm:pt modelId="{EEC30761-5114-4CBF-8F81-AAD74CF5258A}" type="parTrans" cxnId="{CEDD17F1-33CB-415C-B271-DE04012D882D}">
      <dgm:prSet/>
      <dgm:spPr/>
      <dgm:t>
        <a:bodyPr/>
        <a:lstStyle/>
        <a:p>
          <a:endParaRPr lang="en-US" sz="2800"/>
        </a:p>
      </dgm:t>
    </dgm:pt>
    <dgm:pt modelId="{89E2230A-6463-4865-BF68-648D026DE378}" type="sibTrans" cxnId="{CEDD17F1-33CB-415C-B271-DE04012D882D}">
      <dgm:prSet/>
      <dgm:spPr/>
      <dgm:t>
        <a:bodyPr/>
        <a:lstStyle/>
        <a:p>
          <a:endParaRPr lang="en-US" sz="2800"/>
        </a:p>
      </dgm:t>
    </dgm:pt>
    <dgm:pt modelId="{51370462-91D6-4A14-8452-DF7E1FD31707}">
      <dgm:prSet phldrT="[Text]" custT="1"/>
      <dgm:spPr/>
      <dgm:t>
        <a:bodyPr/>
        <a:lstStyle/>
        <a:p>
          <a:r>
            <a:rPr lang="en-US" sz="1200" dirty="0"/>
            <a:t>SVN </a:t>
          </a:r>
          <a:r>
            <a:rPr lang="en-US" sz="1200" dirty="0" err="1"/>
            <a:t>Checkin</a:t>
          </a:r>
          <a:endParaRPr lang="en-US" sz="1200" dirty="0"/>
        </a:p>
      </dgm:t>
    </dgm:pt>
    <dgm:pt modelId="{83F98837-662D-446D-A8A6-23C6F04E8DE9}" type="parTrans" cxnId="{0CFE07A9-B831-44CE-A7AD-981222C943E6}">
      <dgm:prSet/>
      <dgm:spPr/>
      <dgm:t>
        <a:bodyPr/>
        <a:lstStyle/>
        <a:p>
          <a:endParaRPr lang="en-US" sz="2800"/>
        </a:p>
      </dgm:t>
    </dgm:pt>
    <dgm:pt modelId="{7F63E38C-6D95-4657-8ABA-48418AFB5EF1}" type="sibTrans" cxnId="{0CFE07A9-B831-44CE-A7AD-981222C943E6}">
      <dgm:prSet/>
      <dgm:spPr/>
      <dgm:t>
        <a:bodyPr/>
        <a:lstStyle/>
        <a:p>
          <a:endParaRPr lang="en-US" sz="2800"/>
        </a:p>
      </dgm:t>
    </dgm:pt>
    <dgm:pt modelId="{468FFBD8-F4BD-4AF5-B65B-1D7F199AEB49}">
      <dgm:prSet phldrT="[Text]" custT="1"/>
      <dgm:spPr/>
      <dgm:t>
        <a:bodyPr/>
        <a:lstStyle/>
        <a:p>
          <a:r>
            <a:rPr lang="en-US" sz="1200" dirty="0"/>
            <a:t>Jenkins – Dev Build</a:t>
          </a:r>
        </a:p>
      </dgm:t>
    </dgm:pt>
    <dgm:pt modelId="{D6DB1827-AABD-40A0-9961-8606F83071E3}" type="parTrans" cxnId="{60114AF4-17AC-4CF9-898B-CE040A035D97}">
      <dgm:prSet/>
      <dgm:spPr/>
      <dgm:t>
        <a:bodyPr/>
        <a:lstStyle/>
        <a:p>
          <a:endParaRPr lang="en-US" sz="2800"/>
        </a:p>
      </dgm:t>
    </dgm:pt>
    <dgm:pt modelId="{D3FBF746-CB0B-4C13-827D-2FEA0893BD9C}" type="sibTrans" cxnId="{60114AF4-17AC-4CF9-898B-CE040A035D97}">
      <dgm:prSet/>
      <dgm:spPr/>
      <dgm:t>
        <a:bodyPr/>
        <a:lstStyle/>
        <a:p>
          <a:endParaRPr lang="en-US" sz="2800"/>
        </a:p>
      </dgm:t>
    </dgm:pt>
    <dgm:pt modelId="{96615FD9-77EB-4F9D-99DC-6338B5BA2041}">
      <dgm:prSet phldrT="[Text]" custT="1"/>
      <dgm:spPr/>
      <dgm:t>
        <a:bodyPr/>
        <a:lstStyle/>
        <a:p>
          <a:r>
            <a:rPr lang="en-US" sz="1200" dirty="0">
              <a:solidFill>
                <a:srgbClr val="FF0000"/>
              </a:solidFill>
            </a:rPr>
            <a:t>Secure Assist – in IDE – Catch Vulnerabilities at project level</a:t>
          </a:r>
        </a:p>
      </dgm:t>
    </dgm:pt>
    <dgm:pt modelId="{8CC42373-CB8B-4F95-85F6-37B37B24A443}" type="parTrans" cxnId="{0AF66D77-3155-4E6B-AE27-B6A8FFD67861}">
      <dgm:prSet/>
      <dgm:spPr/>
      <dgm:t>
        <a:bodyPr/>
        <a:lstStyle/>
        <a:p>
          <a:endParaRPr lang="en-US" sz="2800"/>
        </a:p>
      </dgm:t>
    </dgm:pt>
    <dgm:pt modelId="{501C0534-35AB-4ADC-812D-C79C6D400EEC}" type="sibTrans" cxnId="{0AF66D77-3155-4E6B-AE27-B6A8FFD67861}">
      <dgm:prSet/>
      <dgm:spPr/>
      <dgm:t>
        <a:bodyPr/>
        <a:lstStyle/>
        <a:p>
          <a:endParaRPr lang="en-US" sz="2800"/>
        </a:p>
      </dgm:t>
    </dgm:pt>
    <dgm:pt modelId="{8B6960F5-ABCC-409C-A4B8-E9BD879DBC4B}">
      <dgm:prSet phldrT="[Text]" custT="1"/>
      <dgm:spPr/>
      <dgm:t>
        <a:bodyPr/>
        <a:lstStyle/>
        <a:p>
          <a:r>
            <a:rPr lang="en-US" sz="1200" dirty="0"/>
            <a:t>Code Coverage Check from IDE – Target 90-95%</a:t>
          </a:r>
        </a:p>
      </dgm:t>
    </dgm:pt>
    <dgm:pt modelId="{AA54B131-D761-4EFC-BEED-991F5B25653A}" type="parTrans" cxnId="{3F922E07-1E02-4533-8FBE-28C61312CA9A}">
      <dgm:prSet/>
      <dgm:spPr/>
      <dgm:t>
        <a:bodyPr/>
        <a:lstStyle/>
        <a:p>
          <a:endParaRPr lang="en-US" sz="2800"/>
        </a:p>
      </dgm:t>
    </dgm:pt>
    <dgm:pt modelId="{3BB7E160-4F30-4821-91A8-0BF91293B2DC}" type="sibTrans" cxnId="{3F922E07-1E02-4533-8FBE-28C61312CA9A}">
      <dgm:prSet/>
      <dgm:spPr/>
      <dgm:t>
        <a:bodyPr/>
        <a:lstStyle/>
        <a:p>
          <a:endParaRPr lang="en-US" sz="2800"/>
        </a:p>
      </dgm:t>
    </dgm:pt>
    <dgm:pt modelId="{F39B1A52-0EA5-4B00-B9B1-BB1F47566723}">
      <dgm:prSet phldrT="[Text]" custT="1"/>
      <dgm:spPr/>
      <dgm:t>
        <a:bodyPr/>
        <a:lstStyle/>
        <a:p>
          <a:r>
            <a:rPr lang="en-US" sz="1200" dirty="0"/>
            <a:t>Jenkins CI- Additional check with </a:t>
          </a:r>
          <a:r>
            <a:rPr lang="en-US" sz="1200" dirty="0" err="1"/>
            <a:t>Coverity</a:t>
          </a:r>
          <a:r>
            <a:rPr lang="en-US" sz="1200" dirty="0"/>
            <a:t> &amp; Black Duck </a:t>
          </a:r>
          <a:r>
            <a:rPr lang="en-US" sz="1200" dirty="0" err="1"/>
            <a:t>Opensource</a:t>
          </a:r>
          <a:r>
            <a:rPr lang="en-US" sz="1200" dirty="0"/>
            <a:t> Scan</a:t>
          </a:r>
        </a:p>
      </dgm:t>
    </dgm:pt>
    <dgm:pt modelId="{9C5D295C-E019-4D0C-9994-2905BADDF995}" type="parTrans" cxnId="{4AD1EC35-5C2A-461D-A705-16A2AC835F9A}">
      <dgm:prSet/>
      <dgm:spPr/>
      <dgm:t>
        <a:bodyPr/>
        <a:lstStyle/>
        <a:p>
          <a:endParaRPr lang="en-US" sz="2800"/>
        </a:p>
      </dgm:t>
    </dgm:pt>
    <dgm:pt modelId="{9974296F-9E71-4D9E-9C6F-9EFD8D9D86D2}" type="sibTrans" cxnId="{4AD1EC35-5C2A-461D-A705-16A2AC835F9A}">
      <dgm:prSet/>
      <dgm:spPr/>
      <dgm:t>
        <a:bodyPr/>
        <a:lstStyle/>
        <a:p>
          <a:endParaRPr lang="en-US" sz="2800"/>
        </a:p>
      </dgm:t>
    </dgm:pt>
    <dgm:pt modelId="{B19A770F-98BC-44DA-A696-EFBE9E1E51E8}">
      <dgm:prSet phldrT="[Text]" custT="1"/>
      <dgm:spPr/>
      <dgm:t>
        <a:bodyPr/>
        <a:lstStyle/>
        <a:p>
          <a:r>
            <a:rPr lang="en-US" sz="1200" dirty="0"/>
            <a:t>Jenkins – Deploy  (By Developer)</a:t>
          </a:r>
        </a:p>
      </dgm:t>
    </dgm:pt>
    <dgm:pt modelId="{F19CE335-EA62-4A7D-999D-C93662F53F09}" type="parTrans" cxnId="{6C5E8338-C1D1-4DBB-A091-8E460624A335}">
      <dgm:prSet/>
      <dgm:spPr/>
      <dgm:t>
        <a:bodyPr/>
        <a:lstStyle/>
        <a:p>
          <a:endParaRPr lang="en-US" sz="2800"/>
        </a:p>
      </dgm:t>
    </dgm:pt>
    <dgm:pt modelId="{498C232E-2515-4515-B4ED-1EC610DB1F25}" type="sibTrans" cxnId="{6C5E8338-C1D1-4DBB-A091-8E460624A335}">
      <dgm:prSet/>
      <dgm:spPr/>
      <dgm:t>
        <a:bodyPr/>
        <a:lstStyle/>
        <a:p>
          <a:endParaRPr lang="en-US" sz="3200"/>
        </a:p>
      </dgm:t>
    </dgm:pt>
    <dgm:pt modelId="{B9D34585-BA41-42EF-ACC1-9D73A510D333}">
      <dgm:prSet phldrT="[Text]" custT="1"/>
      <dgm:spPr/>
      <dgm:t>
        <a:bodyPr/>
        <a:lstStyle/>
        <a:p>
          <a:r>
            <a:rPr lang="en-US" sz="1200" dirty="0"/>
            <a:t>Jenkins – Deploy (By Dev Ops)</a:t>
          </a:r>
        </a:p>
      </dgm:t>
    </dgm:pt>
    <dgm:pt modelId="{045E3CEA-A312-4841-AEBD-BE38CB009FA0}" type="parTrans" cxnId="{14F6A318-46BC-4505-B57D-6E05362AD421}">
      <dgm:prSet/>
      <dgm:spPr/>
      <dgm:t>
        <a:bodyPr/>
        <a:lstStyle/>
        <a:p>
          <a:endParaRPr lang="en-US" sz="2800"/>
        </a:p>
      </dgm:t>
    </dgm:pt>
    <dgm:pt modelId="{DA6673B7-CDEF-4CDB-B124-E5B7C305A0A5}" type="sibTrans" cxnId="{14F6A318-46BC-4505-B57D-6E05362AD421}">
      <dgm:prSet/>
      <dgm:spPr/>
      <dgm:t>
        <a:bodyPr/>
        <a:lstStyle/>
        <a:p>
          <a:endParaRPr lang="en-US" sz="2800"/>
        </a:p>
      </dgm:t>
    </dgm:pt>
    <dgm:pt modelId="{E0A9B9D1-C735-45D6-AC6C-1FEEBF06DD91}" type="pres">
      <dgm:prSet presAssocID="{ACF2DCCA-02FE-4B38-A352-E359D488DEA4}" presName="cycle" presStyleCnt="0">
        <dgm:presLayoutVars>
          <dgm:dir/>
          <dgm:resizeHandles val="exact"/>
        </dgm:presLayoutVars>
      </dgm:prSet>
      <dgm:spPr/>
    </dgm:pt>
    <dgm:pt modelId="{D260F4C8-7CD1-434D-9E16-F86C84B26534}" type="pres">
      <dgm:prSet presAssocID="{5174D547-575E-4CA3-89BB-EE7C35DF09A6}" presName="dummy" presStyleCnt="0"/>
      <dgm:spPr/>
    </dgm:pt>
    <dgm:pt modelId="{D8DAF2EF-F9ED-4062-856F-F1099E198B3F}" type="pres">
      <dgm:prSet presAssocID="{5174D547-575E-4CA3-89BB-EE7C35DF09A6}" presName="node" presStyleLbl="revTx" presStyleIdx="0" presStyleCnt="8">
        <dgm:presLayoutVars>
          <dgm:bulletEnabled val="1"/>
        </dgm:presLayoutVars>
      </dgm:prSet>
      <dgm:spPr/>
    </dgm:pt>
    <dgm:pt modelId="{39664B46-192F-4BCD-A87E-C0CE3235E4B2}" type="pres">
      <dgm:prSet presAssocID="{89E2230A-6463-4865-BF68-648D026DE378}" presName="sibTrans" presStyleLbl="node1" presStyleIdx="0" presStyleCnt="8"/>
      <dgm:spPr/>
    </dgm:pt>
    <dgm:pt modelId="{D818D1BD-F8B5-4CF7-91E3-5D97CC3B658E}" type="pres">
      <dgm:prSet presAssocID="{96615FD9-77EB-4F9D-99DC-6338B5BA2041}" presName="dummy" presStyleCnt="0"/>
      <dgm:spPr/>
    </dgm:pt>
    <dgm:pt modelId="{70A9F766-6420-4637-8E68-928451AAE235}" type="pres">
      <dgm:prSet presAssocID="{96615FD9-77EB-4F9D-99DC-6338B5BA2041}" presName="node" presStyleLbl="revTx" presStyleIdx="1" presStyleCnt="8">
        <dgm:presLayoutVars>
          <dgm:bulletEnabled val="1"/>
        </dgm:presLayoutVars>
      </dgm:prSet>
      <dgm:spPr/>
    </dgm:pt>
    <dgm:pt modelId="{12B27996-C7A8-4ED3-BE9B-20DCA30D7155}" type="pres">
      <dgm:prSet presAssocID="{501C0534-35AB-4ADC-812D-C79C6D400EEC}" presName="sibTrans" presStyleLbl="node1" presStyleIdx="1" presStyleCnt="8"/>
      <dgm:spPr/>
    </dgm:pt>
    <dgm:pt modelId="{1513CDE6-EE49-4153-8134-231B087D88DA}" type="pres">
      <dgm:prSet presAssocID="{8B6960F5-ABCC-409C-A4B8-E9BD879DBC4B}" presName="dummy" presStyleCnt="0"/>
      <dgm:spPr/>
    </dgm:pt>
    <dgm:pt modelId="{4DD734DD-871C-44EF-9612-9D22D5B1ED4D}" type="pres">
      <dgm:prSet presAssocID="{8B6960F5-ABCC-409C-A4B8-E9BD879DBC4B}" presName="node" presStyleLbl="revTx" presStyleIdx="2" presStyleCnt="8">
        <dgm:presLayoutVars>
          <dgm:bulletEnabled val="1"/>
        </dgm:presLayoutVars>
      </dgm:prSet>
      <dgm:spPr/>
    </dgm:pt>
    <dgm:pt modelId="{79B8D80B-82FA-468D-8754-A8B85E348D2D}" type="pres">
      <dgm:prSet presAssocID="{3BB7E160-4F30-4821-91A8-0BF91293B2DC}" presName="sibTrans" presStyleLbl="node1" presStyleIdx="2" presStyleCnt="8"/>
      <dgm:spPr/>
    </dgm:pt>
    <dgm:pt modelId="{E81DD36C-5B42-4583-A23D-1579C2B9492F}" type="pres">
      <dgm:prSet presAssocID="{51370462-91D6-4A14-8452-DF7E1FD31707}" presName="dummy" presStyleCnt="0"/>
      <dgm:spPr/>
    </dgm:pt>
    <dgm:pt modelId="{D21413E3-B781-4A7F-8705-ED617ABD0ADE}" type="pres">
      <dgm:prSet presAssocID="{51370462-91D6-4A14-8452-DF7E1FD31707}" presName="node" presStyleLbl="revTx" presStyleIdx="3" presStyleCnt="8">
        <dgm:presLayoutVars>
          <dgm:bulletEnabled val="1"/>
        </dgm:presLayoutVars>
      </dgm:prSet>
      <dgm:spPr/>
    </dgm:pt>
    <dgm:pt modelId="{0D695A61-7583-46A4-B935-5936E274923C}" type="pres">
      <dgm:prSet presAssocID="{7F63E38C-6D95-4657-8ABA-48418AFB5EF1}" presName="sibTrans" presStyleLbl="node1" presStyleIdx="3" presStyleCnt="8"/>
      <dgm:spPr/>
    </dgm:pt>
    <dgm:pt modelId="{5874B4B9-C780-41EC-A2FF-57598602DFF2}" type="pres">
      <dgm:prSet presAssocID="{F39B1A52-0EA5-4B00-B9B1-BB1F47566723}" presName="dummy" presStyleCnt="0"/>
      <dgm:spPr/>
    </dgm:pt>
    <dgm:pt modelId="{37C70EFF-DCE9-4C6C-B65C-19A00787BCD3}" type="pres">
      <dgm:prSet presAssocID="{F39B1A52-0EA5-4B00-B9B1-BB1F47566723}" presName="node" presStyleLbl="revTx" presStyleIdx="4" presStyleCnt="8">
        <dgm:presLayoutVars>
          <dgm:bulletEnabled val="1"/>
        </dgm:presLayoutVars>
      </dgm:prSet>
      <dgm:spPr/>
    </dgm:pt>
    <dgm:pt modelId="{2AEB5A8B-1576-4861-BE7F-E401AE4A28BE}" type="pres">
      <dgm:prSet presAssocID="{9974296F-9E71-4D9E-9C6F-9EFD8D9D86D2}" presName="sibTrans" presStyleLbl="node1" presStyleIdx="4" presStyleCnt="8"/>
      <dgm:spPr/>
    </dgm:pt>
    <dgm:pt modelId="{645DBF89-259B-4AA3-A3DB-DAD4A0C3D263}" type="pres">
      <dgm:prSet presAssocID="{468FFBD8-F4BD-4AF5-B65B-1D7F199AEB49}" presName="dummy" presStyleCnt="0"/>
      <dgm:spPr/>
    </dgm:pt>
    <dgm:pt modelId="{AB8D9198-B17C-450E-B167-4CDF496D3B93}" type="pres">
      <dgm:prSet presAssocID="{468FFBD8-F4BD-4AF5-B65B-1D7F199AEB49}" presName="node" presStyleLbl="revTx" presStyleIdx="5" presStyleCnt="8">
        <dgm:presLayoutVars>
          <dgm:bulletEnabled val="1"/>
        </dgm:presLayoutVars>
      </dgm:prSet>
      <dgm:spPr/>
    </dgm:pt>
    <dgm:pt modelId="{786C62F9-9672-4779-839E-8F7AAB6449E6}" type="pres">
      <dgm:prSet presAssocID="{D3FBF746-CB0B-4C13-827D-2FEA0893BD9C}" presName="sibTrans" presStyleLbl="node1" presStyleIdx="5" presStyleCnt="8"/>
      <dgm:spPr/>
    </dgm:pt>
    <dgm:pt modelId="{CC7FF188-69FC-47A7-9344-3B9BE804B3A2}" type="pres">
      <dgm:prSet presAssocID="{B19A770F-98BC-44DA-A696-EFBE9E1E51E8}" presName="dummy" presStyleCnt="0"/>
      <dgm:spPr/>
    </dgm:pt>
    <dgm:pt modelId="{80F2CA3E-A214-455C-A7AA-C101644CE17D}" type="pres">
      <dgm:prSet presAssocID="{B19A770F-98BC-44DA-A696-EFBE9E1E51E8}" presName="node" presStyleLbl="revTx" presStyleIdx="6" presStyleCnt="8">
        <dgm:presLayoutVars>
          <dgm:bulletEnabled val="1"/>
        </dgm:presLayoutVars>
      </dgm:prSet>
      <dgm:spPr/>
    </dgm:pt>
    <dgm:pt modelId="{9928ABA6-C7A6-48DD-84B5-335134C3BCFC}" type="pres">
      <dgm:prSet presAssocID="{498C232E-2515-4515-B4ED-1EC610DB1F25}" presName="sibTrans" presStyleLbl="node1" presStyleIdx="6" presStyleCnt="8"/>
      <dgm:spPr/>
    </dgm:pt>
    <dgm:pt modelId="{3E63AE91-1420-4E03-AEA5-06F8AD51F0F2}" type="pres">
      <dgm:prSet presAssocID="{B9D34585-BA41-42EF-ACC1-9D73A510D333}" presName="dummy" presStyleCnt="0"/>
      <dgm:spPr/>
    </dgm:pt>
    <dgm:pt modelId="{CE226930-F8B8-45EC-B406-855790FCE004}" type="pres">
      <dgm:prSet presAssocID="{B9D34585-BA41-42EF-ACC1-9D73A510D333}" presName="node" presStyleLbl="revTx" presStyleIdx="7" presStyleCnt="8">
        <dgm:presLayoutVars>
          <dgm:bulletEnabled val="1"/>
        </dgm:presLayoutVars>
      </dgm:prSet>
      <dgm:spPr/>
    </dgm:pt>
    <dgm:pt modelId="{CED64963-3587-4DC5-A7A3-D81FBCC725E8}" type="pres">
      <dgm:prSet presAssocID="{DA6673B7-CDEF-4CDB-B124-E5B7C305A0A5}" presName="sibTrans" presStyleLbl="node1" presStyleIdx="7" presStyleCnt="8"/>
      <dgm:spPr/>
    </dgm:pt>
  </dgm:ptLst>
  <dgm:cxnLst>
    <dgm:cxn modelId="{9FA76500-89E6-4458-BEE2-E8708029D2B4}" type="presOf" srcId="{51370462-91D6-4A14-8452-DF7E1FD31707}" destId="{D21413E3-B781-4A7F-8705-ED617ABD0ADE}" srcOrd="0" destOrd="0" presId="urn:microsoft.com/office/officeart/2005/8/layout/cycle1"/>
    <dgm:cxn modelId="{6F66AD05-53A4-4815-89BB-9625B4028517}" type="presOf" srcId="{89E2230A-6463-4865-BF68-648D026DE378}" destId="{39664B46-192F-4BCD-A87E-C0CE3235E4B2}" srcOrd="0" destOrd="0" presId="urn:microsoft.com/office/officeart/2005/8/layout/cycle1"/>
    <dgm:cxn modelId="{3F922E07-1E02-4533-8FBE-28C61312CA9A}" srcId="{ACF2DCCA-02FE-4B38-A352-E359D488DEA4}" destId="{8B6960F5-ABCC-409C-A4B8-E9BD879DBC4B}" srcOrd="2" destOrd="0" parTransId="{AA54B131-D761-4EFC-BEED-991F5B25653A}" sibTransId="{3BB7E160-4F30-4821-91A8-0BF91293B2DC}"/>
    <dgm:cxn modelId="{1EE7B70A-FDB6-4EC1-919D-16FE0DF8A9A0}" type="presOf" srcId="{5174D547-575E-4CA3-89BB-EE7C35DF09A6}" destId="{D8DAF2EF-F9ED-4062-856F-F1099E198B3F}" srcOrd="0" destOrd="0" presId="urn:microsoft.com/office/officeart/2005/8/layout/cycle1"/>
    <dgm:cxn modelId="{1777100B-C34E-4DE5-8ADF-0FD4E08B7796}" type="presOf" srcId="{7F63E38C-6D95-4657-8ABA-48418AFB5EF1}" destId="{0D695A61-7583-46A4-B935-5936E274923C}" srcOrd="0" destOrd="0" presId="urn:microsoft.com/office/officeart/2005/8/layout/cycle1"/>
    <dgm:cxn modelId="{14F6A318-46BC-4505-B57D-6E05362AD421}" srcId="{ACF2DCCA-02FE-4B38-A352-E359D488DEA4}" destId="{B9D34585-BA41-42EF-ACC1-9D73A510D333}" srcOrd="7" destOrd="0" parTransId="{045E3CEA-A312-4841-AEBD-BE38CB009FA0}" sibTransId="{DA6673B7-CDEF-4CDB-B124-E5B7C305A0A5}"/>
    <dgm:cxn modelId="{004F3C22-4879-4D71-B4D5-AEF7EEB345AD}" type="presOf" srcId="{501C0534-35AB-4ADC-812D-C79C6D400EEC}" destId="{12B27996-C7A8-4ED3-BE9B-20DCA30D7155}" srcOrd="0" destOrd="0" presId="urn:microsoft.com/office/officeart/2005/8/layout/cycle1"/>
    <dgm:cxn modelId="{BFC48922-C2DC-4C4E-8948-050E538F30F4}" type="presOf" srcId="{9974296F-9E71-4D9E-9C6F-9EFD8D9D86D2}" destId="{2AEB5A8B-1576-4861-BE7F-E401AE4A28BE}" srcOrd="0" destOrd="0" presId="urn:microsoft.com/office/officeart/2005/8/layout/cycle1"/>
    <dgm:cxn modelId="{11885526-80AC-4F73-BAA5-9C3CD16E0AE9}" type="presOf" srcId="{498C232E-2515-4515-B4ED-1EC610DB1F25}" destId="{9928ABA6-C7A6-48DD-84B5-335134C3BCFC}" srcOrd="0" destOrd="0" presId="urn:microsoft.com/office/officeart/2005/8/layout/cycle1"/>
    <dgm:cxn modelId="{9ECF1D31-883A-4B9F-9984-FB8ECE7C5ECC}" type="presOf" srcId="{ACF2DCCA-02FE-4B38-A352-E359D488DEA4}" destId="{E0A9B9D1-C735-45D6-AC6C-1FEEBF06DD91}" srcOrd="0" destOrd="0" presId="urn:microsoft.com/office/officeart/2005/8/layout/cycle1"/>
    <dgm:cxn modelId="{4AD1EC35-5C2A-461D-A705-16A2AC835F9A}" srcId="{ACF2DCCA-02FE-4B38-A352-E359D488DEA4}" destId="{F39B1A52-0EA5-4B00-B9B1-BB1F47566723}" srcOrd="4" destOrd="0" parTransId="{9C5D295C-E019-4D0C-9994-2905BADDF995}" sibTransId="{9974296F-9E71-4D9E-9C6F-9EFD8D9D86D2}"/>
    <dgm:cxn modelId="{6C5E8338-C1D1-4DBB-A091-8E460624A335}" srcId="{ACF2DCCA-02FE-4B38-A352-E359D488DEA4}" destId="{B19A770F-98BC-44DA-A696-EFBE9E1E51E8}" srcOrd="6" destOrd="0" parTransId="{F19CE335-EA62-4A7D-999D-C93662F53F09}" sibTransId="{498C232E-2515-4515-B4ED-1EC610DB1F25}"/>
    <dgm:cxn modelId="{2742953B-4EAE-4478-B173-A3C332931EA5}" type="presOf" srcId="{D3FBF746-CB0B-4C13-827D-2FEA0893BD9C}" destId="{786C62F9-9672-4779-839E-8F7AAB6449E6}" srcOrd="0" destOrd="0" presId="urn:microsoft.com/office/officeart/2005/8/layout/cycle1"/>
    <dgm:cxn modelId="{28BB1B3E-7353-4C15-8DE1-2A62500F997B}" type="presOf" srcId="{3BB7E160-4F30-4821-91A8-0BF91293B2DC}" destId="{79B8D80B-82FA-468D-8754-A8B85E348D2D}" srcOrd="0" destOrd="0" presId="urn:microsoft.com/office/officeart/2005/8/layout/cycle1"/>
    <dgm:cxn modelId="{FDAB3B4B-47DD-43F0-9613-FFC00DBF2DEF}" type="presOf" srcId="{B19A770F-98BC-44DA-A696-EFBE9E1E51E8}" destId="{80F2CA3E-A214-455C-A7AA-C101644CE17D}" srcOrd="0" destOrd="0" presId="urn:microsoft.com/office/officeart/2005/8/layout/cycle1"/>
    <dgm:cxn modelId="{0AF66D77-3155-4E6B-AE27-B6A8FFD67861}" srcId="{ACF2DCCA-02FE-4B38-A352-E359D488DEA4}" destId="{96615FD9-77EB-4F9D-99DC-6338B5BA2041}" srcOrd="1" destOrd="0" parTransId="{8CC42373-CB8B-4F95-85F6-37B37B24A443}" sibTransId="{501C0534-35AB-4ADC-812D-C79C6D400EEC}"/>
    <dgm:cxn modelId="{71DB3A82-5138-4DD1-AB66-74D658D283D8}" type="presOf" srcId="{F39B1A52-0EA5-4B00-B9B1-BB1F47566723}" destId="{37C70EFF-DCE9-4C6C-B65C-19A00787BCD3}" srcOrd="0" destOrd="0" presId="urn:microsoft.com/office/officeart/2005/8/layout/cycle1"/>
    <dgm:cxn modelId="{59F69494-6C0F-4230-B94A-A0446E6B9DDA}" type="presOf" srcId="{96615FD9-77EB-4F9D-99DC-6338B5BA2041}" destId="{70A9F766-6420-4637-8E68-928451AAE235}" srcOrd="0" destOrd="0" presId="urn:microsoft.com/office/officeart/2005/8/layout/cycle1"/>
    <dgm:cxn modelId="{B84B54A0-7466-4FE4-9DBF-4702C5C00EC9}" type="presOf" srcId="{468FFBD8-F4BD-4AF5-B65B-1D7F199AEB49}" destId="{AB8D9198-B17C-450E-B167-4CDF496D3B93}" srcOrd="0" destOrd="0" presId="urn:microsoft.com/office/officeart/2005/8/layout/cycle1"/>
    <dgm:cxn modelId="{406FF2A2-58B5-43BB-A184-342DCB51EA99}" type="presOf" srcId="{B9D34585-BA41-42EF-ACC1-9D73A510D333}" destId="{CE226930-F8B8-45EC-B406-855790FCE004}" srcOrd="0" destOrd="0" presId="urn:microsoft.com/office/officeart/2005/8/layout/cycle1"/>
    <dgm:cxn modelId="{0CFE07A9-B831-44CE-A7AD-981222C943E6}" srcId="{ACF2DCCA-02FE-4B38-A352-E359D488DEA4}" destId="{51370462-91D6-4A14-8452-DF7E1FD31707}" srcOrd="3" destOrd="0" parTransId="{83F98837-662D-446D-A8A6-23C6F04E8DE9}" sibTransId="{7F63E38C-6D95-4657-8ABA-48418AFB5EF1}"/>
    <dgm:cxn modelId="{93A980AB-C265-44E4-81DD-3E134F76C986}" type="presOf" srcId="{8B6960F5-ABCC-409C-A4B8-E9BD879DBC4B}" destId="{4DD734DD-871C-44EF-9612-9D22D5B1ED4D}" srcOrd="0" destOrd="0" presId="urn:microsoft.com/office/officeart/2005/8/layout/cycle1"/>
    <dgm:cxn modelId="{E7B598D6-B0CC-43F8-B545-7A1063049879}" type="presOf" srcId="{DA6673B7-CDEF-4CDB-B124-E5B7C305A0A5}" destId="{CED64963-3587-4DC5-A7A3-D81FBCC725E8}" srcOrd="0" destOrd="0" presId="urn:microsoft.com/office/officeart/2005/8/layout/cycle1"/>
    <dgm:cxn modelId="{CEDD17F1-33CB-415C-B271-DE04012D882D}" srcId="{ACF2DCCA-02FE-4B38-A352-E359D488DEA4}" destId="{5174D547-575E-4CA3-89BB-EE7C35DF09A6}" srcOrd="0" destOrd="0" parTransId="{EEC30761-5114-4CBF-8F81-AAD74CF5258A}" sibTransId="{89E2230A-6463-4865-BF68-648D026DE378}"/>
    <dgm:cxn modelId="{60114AF4-17AC-4CF9-898B-CE040A035D97}" srcId="{ACF2DCCA-02FE-4B38-A352-E359D488DEA4}" destId="{468FFBD8-F4BD-4AF5-B65B-1D7F199AEB49}" srcOrd="5" destOrd="0" parTransId="{D6DB1827-AABD-40A0-9961-8606F83071E3}" sibTransId="{D3FBF746-CB0B-4C13-827D-2FEA0893BD9C}"/>
    <dgm:cxn modelId="{75404813-A301-4D94-BB9F-361B2896AAE8}" type="presParOf" srcId="{E0A9B9D1-C735-45D6-AC6C-1FEEBF06DD91}" destId="{D260F4C8-7CD1-434D-9E16-F86C84B26534}" srcOrd="0" destOrd="0" presId="urn:microsoft.com/office/officeart/2005/8/layout/cycle1"/>
    <dgm:cxn modelId="{B282228E-10C8-48CC-BCE4-DC055B911813}" type="presParOf" srcId="{E0A9B9D1-C735-45D6-AC6C-1FEEBF06DD91}" destId="{D8DAF2EF-F9ED-4062-856F-F1099E198B3F}" srcOrd="1" destOrd="0" presId="urn:microsoft.com/office/officeart/2005/8/layout/cycle1"/>
    <dgm:cxn modelId="{493E1046-7816-4B1F-9227-ECB506ECC4D2}" type="presParOf" srcId="{E0A9B9D1-C735-45D6-AC6C-1FEEBF06DD91}" destId="{39664B46-192F-4BCD-A87E-C0CE3235E4B2}" srcOrd="2" destOrd="0" presId="urn:microsoft.com/office/officeart/2005/8/layout/cycle1"/>
    <dgm:cxn modelId="{056E67D7-22A3-4C12-ABE9-2F44E2B0E16D}" type="presParOf" srcId="{E0A9B9D1-C735-45D6-AC6C-1FEEBF06DD91}" destId="{D818D1BD-F8B5-4CF7-91E3-5D97CC3B658E}" srcOrd="3" destOrd="0" presId="urn:microsoft.com/office/officeart/2005/8/layout/cycle1"/>
    <dgm:cxn modelId="{719C664F-7161-433B-996C-F7CBB20E12C6}" type="presParOf" srcId="{E0A9B9D1-C735-45D6-AC6C-1FEEBF06DD91}" destId="{70A9F766-6420-4637-8E68-928451AAE235}" srcOrd="4" destOrd="0" presId="urn:microsoft.com/office/officeart/2005/8/layout/cycle1"/>
    <dgm:cxn modelId="{041B47AB-F384-470C-B65C-7B4C7FE166AB}" type="presParOf" srcId="{E0A9B9D1-C735-45D6-AC6C-1FEEBF06DD91}" destId="{12B27996-C7A8-4ED3-BE9B-20DCA30D7155}" srcOrd="5" destOrd="0" presId="urn:microsoft.com/office/officeart/2005/8/layout/cycle1"/>
    <dgm:cxn modelId="{12654BCF-4849-464A-A815-18D2F4ABEBB1}" type="presParOf" srcId="{E0A9B9D1-C735-45D6-AC6C-1FEEBF06DD91}" destId="{1513CDE6-EE49-4153-8134-231B087D88DA}" srcOrd="6" destOrd="0" presId="urn:microsoft.com/office/officeart/2005/8/layout/cycle1"/>
    <dgm:cxn modelId="{302CE172-AAFE-4861-83C6-C4385E5AF13C}" type="presParOf" srcId="{E0A9B9D1-C735-45D6-AC6C-1FEEBF06DD91}" destId="{4DD734DD-871C-44EF-9612-9D22D5B1ED4D}" srcOrd="7" destOrd="0" presId="urn:microsoft.com/office/officeart/2005/8/layout/cycle1"/>
    <dgm:cxn modelId="{8ACBF7C5-F3C1-453C-ACC1-05BBFEB216A9}" type="presParOf" srcId="{E0A9B9D1-C735-45D6-AC6C-1FEEBF06DD91}" destId="{79B8D80B-82FA-468D-8754-A8B85E348D2D}" srcOrd="8" destOrd="0" presId="urn:microsoft.com/office/officeart/2005/8/layout/cycle1"/>
    <dgm:cxn modelId="{1AC59AC1-0F28-4369-9FDF-FA9F6F2035D2}" type="presParOf" srcId="{E0A9B9D1-C735-45D6-AC6C-1FEEBF06DD91}" destId="{E81DD36C-5B42-4583-A23D-1579C2B9492F}" srcOrd="9" destOrd="0" presId="urn:microsoft.com/office/officeart/2005/8/layout/cycle1"/>
    <dgm:cxn modelId="{7C1394FF-6AAD-4A32-B3B7-06147B810BBE}" type="presParOf" srcId="{E0A9B9D1-C735-45D6-AC6C-1FEEBF06DD91}" destId="{D21413E3-B781-4A7F-8705-ED617ABD0ADE}" srcOrd="10" destOrd="0" presId="urn:microsoft.com/office/officeart/2005/8/layout/cycle1"/>
    <dgm:cxn modelId="{1E41BBDD-D612-48C2-869D-ACF7190A42B8}" type="presParOf" srcId="{E0A9B9D1-C735-45D6-AC6C-1FEEBF06DD91}" destId="{0D695A61-7583-46A4-B935-5936E274923C}" srcOrd="11" destOrd="0" presId="urn:microsoft.com/office/officeart/2005/8/layout/cycle1"/>
    <dgm:cxn modelId="{79EAB5DC-7409-4D97-AC71-9126A53A2B77}" type="presParOf" srcId="{E0A9B9D1-C735-45D6-AC6C-1FEEBF06DD91}" destId="{5874B4B9-C780-41EC-A2FF-57598602DFF2}" srcOrd="12" destOrd="0" presId="urn:microsoft.com/office/officeart/2005/8/layout/cycle1"/>
    <dgm:cxn modelId="{5A719A64-5982-4FBE-99E8-DC78A0467376}" type="presParOf" srcId="{E0A9B9D1-C735-45D6-AC6C-1FEEBF06DD91}" destId="{37C70EFF-DCE9-4C6C-B65C-19A00787BCD3}" srcOrd="13" destOrd="0" presId="urn:microsoft.com/office/officeart/2005/8/layout/cycle1"/>
    <dgm:cxn modelId="{444C36E8-EA02-4606-AA05-87D2893C4395}" type="presParOf" srcId="{E0A9B9D1-C735-45D6-AC6C-1FEEBF06DD91}" destId="{2AEB5A8B-1576-4861-BE7F-E401AE4A28BE}" srcOrd="14" destOrd="0" presId="urn:microsoft.com/office/officeart/2005/8/layout/cycle1"/>
    <dgm:cxn modelId="{7829396B-D87F-4C2B-903E-0D577C87E74A}" type="presParOf" srcId="{E0A9B9D1-C735-45D6-AC6C-1FEEBF06DD91}" destId="{645DBF89-259B-4AA3-A3DB-DAD4A0C3D263}" srcOrd="15" destOrd="0" presId="urn:microsoft.com/office/officeart/2005/8/layout/cycle1"/>
    <dgm:cxn modelId="{6EECE7DD-0B08-4609-94E5-C2EB82C007D3}" type="presParOf" srcId="{E0A9B9D1-C735-45D6-AC6C-1FEEBF06DD91}" destId="{AB8D9198-B17C-450E-B167-4CDF496D3B93}" srcOrd="16" destOrd="0" presId="urn:microsoft.com/office/officeart/2005/8/layout/cycle1"/>
    <dgm:cxn modelId="{3355D719-FF2E-4BC6-96D7-76E19D2B78D5}" type="presParOf" srcId="{E0A9B9D1-C735-45D6-AC6C-1FEEBF06DD91}" destId="{786C62F9-9672-4779-839E-8F7AAB6449E6}" srcOrd="17" destOrd="0" presId="urn:microsoft.com/office/officeart/2005/8/layout/cycle1"/>
    <dgm:cxn modelId="{E95F222A-2294-4C11-9238-F31E48CF0461}" type="presParOf" srcId="{E0A9B9D1-C735-45D6-AC6C-1FEEBF06DD91}" destId="{CC7FF188-69FC-47A7-9344-3B9BE804B3A2}" srcOrd="18" destOrd="0" presId="urn:microsoft.com/office/officeart/2005/8/layout/cycle1"/>
    <dgm:cxn modelId="{6492DB39-DB8C-440F-BF87-BC915D21F9E7}" type="presParOf" srcId="{E0A9B9D1-C735-45D6-AC6C-1FEEBF06DD91}" destId="{80F2CA3E-A214-455C-A7AA-C101644CE17D}" srcOrd="19" destOrd="0" presId="urn:microsoft.com/office/officeart/2005/8/layout/cycle1"/>
    <dgm:cxn modelId="{59CA33E7-EBCA-451D-8679-E05B3C809145}" type="presParOf" srcId="{E0A9B9D1-C735-45D6-AC6C-1FEEBF06DD91}" destId="{9928ABA6-C7A6-48DD-84B5-335134C3BCFC}" srcOrd="20" destOrd="0" presId="urn:microsoft.com/office/officeart/2005/8/layout/cycle1"/>
    <dgm:cxn modelId="{B9DD85B5-136A-410E-A0B0-566714E6E0E8}" type="presParOf" srcId="{E0A9B9D1-C735-45D6-AC6C-1FEEBF06DD91}" destId="{3E63AE91-1420-4E03-AEA5-06F8AD51F0F2}" srcOrd="21" destOrd="0" presId="urn:microsoft.com/office/officeart/2005/8/layout/cycle1"/>
    <dgm:cxn modelId="{5230A18D-72E7-4D66-9A84-D920A98EFEF3}" type="presParOf" srcId="{E0A9B9D1-C735-45D6-AC6C-1FEEBF06DD91}" destId="{CE226930-F8B8-45EC-B406-855790FCE004}" srcOrd="22" destOrd="0" presId="urn:microsoft.com/office/officeart/2005/8/layout/cycle1"/>
    <dgm:cxn modelId="{74C697DD-26ED-42D1-A17D-93A2FFD2416C}" type="presParOf" srcId="{E0A9B9D1-C735-45D6-AC6C-1FEEBF06DD91}" destId="{CED64963-3587-4DC5-A7A3-D81FBCC725E8}" srcOrd="23" destOrd="0" presId="urn:microsoft.com/office/officeart/2005/8/layout/cycle1"/>
  </dgm:cxnLst>
  <dgm:bg>
    <a:noFill/>
  </dgm:bg>
  <dgm:whole/>
  <dgm:extLst>
    <a:ext uri="http://schemas.microsoft.com/office/drawing/2008/diagram">
      <dsp:dataModelExt xmlns:dsp="http://schemas.microsoft.com/office/drawing/2008/diagram" relId="rId2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8DAF2EF-F9ED-4062-856F-F1099E198B3F}">
      <dsp:nvSpPr>
        <dsp:cNvPr id="0" name=""/>
        <dsp:cNvSpPr/>
      </dsp:nvSpPr>
      <dsp:spPr>
        <a:xfrm>
          <a:off x="6234530" y="768"/>
          <a:ext cx="968262" cy="9682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Code development – in IDE</a:t>
          </a:r>
        </a:p>
      </dsp:txBody>
      <dsp:txXfrm>
        <a:off x="6234530" y="768"/>
        <a:ext cx="968262" cy="968262"/>
      </dsp:txXfrm>
    </dsp:sp>
    <dsp:sp modelId="{39664B46-192F-4BCD-A87E-C0CE3235E4B2}">
      <dsp:nvSpPr>
        <dsp:cNvPr id="0" name=""/>
        <dsp:cNvSpPr/>
      </dsp:nvSpPr>
      <dsp:spPr>
        <a:xfrm>
          <a:off x="3066746" y="90566"/>
          <a:ext cx="5395583" cy="5395583"/>
        </a:xfrm>
        <a:prstGeom prst="circularArrow">
          <a:avLst>
            <a:gd name="adj1" fmla="val 3499"/>
            <a:gd name="adj2" fmla="val 216984"/>
            <a:gd name="adj3" fmla="val 19269215"/>
            <a:gd name="adj4" fmla="val 18313802"/>
            <a:gd name="adj5" fmla="val 408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0A9F766-6420-4637-8E68-928451AAE235}">
      <dsp:nvSpPr>
        <dsp:cNvPr id="0" name=""/>
        <dsp:cNvSpPr/>
      </dsp:nvSpPr>
      <dsp:spPr>
        <a:xfrm>
          <a:off x="7583865" y="1350103"/>
          <a:ext cx="968262" cy="9682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FF0000"/>
              </a:solidFill>
            </a:rPr>
            <a:t>Secure Assist – in IDE – Catch Vulnerabilities at project level</a:t>
          </a:r>
        </a:p>
      </dsp:txBody>
      <dsp:txXfrm>
        <a:off x="7583865" y="1350103"/>
        <a:ext cx="968262" cy="968262"/>
      </dsp:txXfrm>
    </dsp:sp>
    <dsp:sp modelId="{12B27996-C7A8-4ED3-BE9B-20DCA30D7155}">
      <dsp:nvSpPr>
        <dsp:cNvPr id="0" name=""/>
        <dsp:cNvSpPr/>
      </dsp:nvSpPr>
      <dsp:spPr>
        <a:xfrm>
          <a:off x="3066746" y="90566"/>
          <a:ext cx="5395583" cy="5395583"/>
        </a:xfrm>
        <a:prstGeom prst="circularArrow">
          <a:avLst>
            <a:gd name="adj1" fmla="val 3499"/>
            <a:gd name="adj2" fmla="val 216984"/>
            <a:gd name="adj3" fmla="val 434954"/>
            <a:gd name="adj4" fmla="val 20948062"/>
            <a:gd name="adj5" fmla="val 408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DD734DD-871C-44EF-9612-9D22D5B1ED4D}">
      <dsp:nvSpPr>
        <dsp:cNvPr id="0" name=""/>
        <dsp:cNvSpPr/>
      </dsp:nvSpPr>
      <dsp:spPr>
        <a:xfrm>
          <a:off x="7583865" y="3258351"/>
          <a:ext cx="968262" cy="9682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Code Coverage Check from IDE – Target 90-95%</a:t>
          </a:r>
        </a:p>
      </dsp:txBody>
      <dsp:txXfrm>
        <a:off x="7583865" y="3258351"/>
        <a:ext cx="968262" cy="968262"/>
      </dsp:txXfrm>
    </dsp:sp>
    <dsp:sp modelId="{79B8D80B-82FA-468D-8754-A8B85E348D2D}">
      <dsp:nvSpPr>
        <dsp:cNvPr id="0" name=""/>
        <dsp:cNvSpPr/>
      </dsp:nvSpPr>
      <dsp:spPr>
        <a:xfrm>
          <a:off x="3066746" y="90566"/>
          <a:ext cx="5395583" cy="5395583"/>
        </a:xfrm>
        <a:prstGeom prst="circularArrow">
          <a:avLst>
            <a:gd name="adj1" fmla="val 3499"/>
            <a:gd name="adj2" fmla="val 216984"/>
            <a:gd name="adj3" fmla="val 3069215"/>
            <a:gd name="adj4" fmla="val 2113802"/>
            <a:gd name="adj5" fmla="val 408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21413E3-B781-4A7F-8705-ED617ABD0ADE}">
      <dsp:nvSpPr>
        <dsp:cNvPr id="0" name=""/>
        <dsp:cNvSpPr/>
      </dsp:nvSpPr>
      <dsp:spPr>
        <a:xfrm>
          <a:off x="6234530" y="4607686"/>
          <a:ext cx="968262" cy="9682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SVN </a:t>
          </a:r>
          <a:r>
            <a:rPr lang="en-US" sz="1200" kern="1200" dirty="0" err="1"/>
            <a:t>Checkin</a:t>
          </a:r>
          <a:endParaRPr lang="en-US" sz="1200" kern="1200" dirty="0"/>
        </a:p>
      </dsp:txBody>
      <dsp:txXfrm>
        <a:off x="6234530" y="4607686"/>
        <a:ext cx="968262" cy="968262"/>
      </dsp:txXfrm>
    </dsp:sp>
    <dsp:sp modelId="{0D695A61-7583-46A4-B935-5936E274923C}">
      <dsp:nvSpPr>
        <dsp:cNvPr id="0" name=""/>
        <dsp:cNvSpPr/>
      </dsp:nvSpPr>
      <dsp:spPr>
        <a:xfrm>
          <a:off x="3066746" y="90566"/>
          <a:ext cx="5395583" cy="5395583"/>
        </a:xfrm>
        <a:prstGeom prst="circularArrow">
          <a:avLst>
            <a:gd name="adj1" fmla="val 3499"/>
            <a:gd name="adj2" fmla="val 216984"/>
            <a:gd name="adj3" fmla="val 5834954"/>
            <a:gd name="adj4" fmla="val 4748062"/>
            <a:gd name="adj5" fmla="val 408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7C70EFF-DCE9-4C6C-B65C-19A00787BCD3}">
      <dsp:nvSpPr>
        <dsp:cNvPr id="0" name=""/>
        <dsp:cNvSpPr/>
      </dsp:nvSpPr>
      <dsp:spPr>
        <a:xfrm>
          <a:off x="4326282" y="4607686"/>
          <a:ext cx="968262" cy="9682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Jenkins CI- Additional check with </a:t>
          </a:r>
          <a:r>
            <a:rPr lang="en-US" sz="1200" kern="1200" dirty="0" err="1"/>
            <a:t>Coverity</a:t>
          </a:r>
          <a:r>
            <a:rPr lang="en-US" sz="1200" kern="1200" dirty="0"/>
            <a:t> &amp; Black Duck </a:t>
          </a:r>
          <a:r>
            <a:rPr lang="en-US" sz="1200" kern="1200" dirty="0" err="1"/>
            <a:t>Opensource</a:t>
          </a:r>
          <a:r>
            <a:rPr lang="en-US" sz="1200" kern="1200" dirty="0"/>
            <a:t> Scan</a:t>
          </a:r>
        </a:p>
      </dsp:txBody>
      <dsp:txXfrm>
        <a:off x="4326282" y="4607686"/>
        <a:ext cx="968262" cy="968262"/>
      </dsp:txXfrm>
    </dsp:sp>
    <dsp:sp modelId="{2AEB5A8B-1576-4861-BE7F-E401AE4A28BE}">
      <dsp:nvSpPr>
        <dsp:cNvPr id="0" name=""/>
        <dsp:cNvSpPr/>
      </dsp:nvSpPr>
      <dsp:spPr>
        <a:xfrm>
          <a:off x="3066746" y="90566"/>
          <a:ext cx="5395583" cy="5395583"/>
        </a:xfrm>
        <a:prstGeom prst="circularArrow">
          <a:avLst>
            <a:gd name="adj1" fmla="val 3499"/>
            <a:gd name="adj2" fmla="val 216984"/>
            <a:gd name="adj3" fmla="val 8469215"/>
            <a:gd name="adj4" fmla="val 7513802"/>
            <a:gd name="adj5" fmla="val 408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B8D9198-B17C-450E-B167-4CDF496D3B93}">
      <dsp:nvSpPr>
        <dsp:cNvPr id="0" name=""/>
        <dsp:cNvSpPr/>
      </dsp:nvSpPr>
      <dsp:spPr>
        <a:xfrm>
          <a:off x="2976947" y="3258351"/>
          <a:ext cx="968262" cy="9682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Jenkins – Dev Build</a:t>
          </a:r>
        </a:p>
      </dsp:txBody>
      <dsp:txXfrm>
        <a:off x="2976947" y="3258351"/>
        <a:ext cx="968262" cy="968262"/>
      </dsp:txXfrm>
    </dsp:sp>
    <dsp:sp modelId="{786C62F9-9672-4779-839E-8F7AAB6449E6}">
      <dsp:nvSpPr>
        <dsp:cNvPr id="0" name=""/>
        <dsp:cNvSpPr/>
      </dsp:nvSpPr>
      <dsp:spPr>
        <a:xfrm>
          <a:off x="3066746" y="90566"/>
          <a:ext cx="5395583" cy="5395583"/>
        </a:xfrm>
        <a:prstGeom prst="circularArrow">
          <a:avLst>
            <a:gd name="adj1" fmla="val 3499"/>
            <a:gd name="adj2" fmla="val 216984"/>
            <a:gd name="adj3" fmla="val 11234954"/>
            <a:gd name="adj4" fmla="val 10148062"/>
            <a:gd name="adj5" fmla="val 408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0F2CA3E-A214-455C-A7AA-C101644CE17D}">
      <dsp:nvSpPr>
        <dsp:cNvPr id="0" name=""/>
        <dsp:cNvSpPr/>
      </dsp:nvSpPr>
      <dsp:spPr>
        <a:xfrm>
          <a:off x="2976947" y="1350103"/>
          <a:ext cx="968262" cy="9682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Jenkins – Deploy  (By Developer)</a:t>
          </a:r>
        </a:p>
      </dsp:txBody>
      <dsp:txXfrm>
        <a:off x="2976947" y="1350103"/>
        <a:ext cx="968262" cy="968262"/>
      </dsp:txXfrm>
    </dsp:sp>
    <dsp:sp modelId="{9928ABA6-C7A6-48DD-84B5-335134C3BCFC}">
      <dsp:nvSpPr>
        <dsp:cNvPr id="0" name=""/>
        <dsp:cNvSpPr/>
      </dsp:nvSpPr>
      <dsp:spPr>
        <a:xfrm>
          <a:off x="3066746" y="90566"/>
          <a:ext cx="5395583" cy="5395583"/>
        </a:xfrm>
        <a:prstGeom prst="circularArrow">
          <a:avLst>
            <a:gd name="adj1" fmla="val 3499"/>
            <a:gd name="adj2" fmla="val 216984"/>
            <a:gd name="adj3" fmla="val 13869215"/>
            <a:gd name="adj4" fmla="val 12913802"/>
            <a:gd name="adj5" fmla="val 408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E226930-F8B8-45EC-B406-855790FCE004}">
      <dsp:nvSpPr>
        <dsp:cNvPr id="0" name=""/>
        <dsp:cNvSpPr/>
      </dsp:nvSpPr>
      <dsp:spPr>
        <a:xfrm>
          <a:off x="4326282" y="768"/>
          <a:ext cx="968262" cy="9682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Jenkins – Deploy (By Dev Ops)</a:t>
          </a:r>
        </a:p>
      </dsp:txBody>
      <dsp:txXfrm>
        <a:off x="4326282" y="768"/>
        <a:ext cx="968262" cy="968262"/>
      </dsp:txXfrm>
    </dsp:sp>
    <dsp:sp modelId="{CED64963-3587-4DC5-A7A3-D81FBCC725E8}">
      <dsp:nvSpPr>
        <dsp:cNvPr id="0" name=""/>
        <dsp:cNvSpPr/>
      </dsp:nvSpPr>
      <dsp:spPr>
        <a:xfrm>
          <a:off x="3066746" y="90566"/>
          <a:ext cx="5395583" cy="5395583"/>
        </a:xfrm>
        <a:prstGeom prst="circularArrow">
          <a:avLst>
            <a:gd name="adj1" fmla="val 3499"/>
            <a:gd name="adj2" fmla="val 216984"/>
            <a:gd name="adj3" fmla="val 16634954"/>
            <a:gd name="adj4" fmla="val 15548062"/>
            <a:gd name="adj5" fmla="val 408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8DAF2EF-F9ED-4062-856F-F1099E198B3F}">
      <dsp:nvSpPr>
        <dsp:cNvPr id="0" name=""/>
        <dsp:cNvSpPr/>
      </dsp:nvSpPr>
      <dsp:spPr>
        <a:xfrm>
          <a:off x="6234530" y="768"/>
          <a:ext cx="968262" cy="9682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Code development – in IDE</a:t>
          </a:r>
        </a:p>
      </dsp:txBody>
      <dsp:txXfrm>
        <a:off x="6234530" y="768"/>
        <a:ext cx="968262" cy="968262"/>
      </dsp:txXfrm>
    </dsp:sp>
    <dsp:sp modelId="{39664B46-192F-4BCD-A87E-C0CE3235E4B2}">
      <dsp:nvSpPr>
        <dsp:cNvPr id="0" name=""/>
        <dsp:cNvSpPr/>
      </dsp:nvSpPr>
      <dsp:spPr>
        <a:xfrm>
          <a:off x="3066746" y="90566"/>
          <a:ext cx="5395583" cy="5395583"/>
        </a:xfrm>
        <a:prstGeom prst="circularArrow">
          <a:avLst>
            <a:gd name="adj1" fmla="val 3499"/>
            <a:gd name="adj2" fmla="val 216984"/>
            <a:gd name="adj3" fmla="val 19269215"/>
            <a:gd name="adj4" fmla="val 18313802"/>
            <a:gd name="adj5" fmla="val 408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0A9F766-6420-4637-8E68-928451AAE235}">
      <dsp:nvSpPr>
        <dsp:cNvPr id="0" name=""/>
        <dsp:cNvSpPr/>
      </dsp:nvSpPr>
      <dsp:spPr>
        <a:xfrm>
          <a:off x="7583865" y="1350103"/>
          <a:ext cx="968262" cy="9682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FF0000"/>
              </a:solidFill>
            </a:rPr>
            <a:t>Secure Assist – in IDE – Catch Vulnerabilities at project level</a:t>
          </a:r>
        </a:p>
      </dsp:txBody>
      <dsp:txXfrm>
        <a:off x="7583865" y="1350103"/>
        <a:ext cx="968262" cy="968262"/>
      </dsp:txXfrm>
    </dsp:sp>
    <dsp:sp modelId="{12B27996-C7A8-4ED3-BE9B-20DCA30D7155}">
      <dsp:nvSpPr>
        <dsp:cNvPr id="0" name=""/>
        <dsp:cNvSpPr/>
      </dsp:nvSpPr>
      <dsp:spPr>
        <a:xfrm>
          <a:off x="3066746" y="90566"/>
          <a:ext cx="5395583" cy="5395583"/>
        </a:xfrm>
        <a:prstGeom prst="circularArrow">
          <a:avLst>
            <a:gd name="adj1" fmla="val 3499"/>
            <a:gd name="adj2" fmla="val 216984"/>
            <a:gd name="adj3" fmla="val 434954"/>
            <a:gd name="adj4" fmla="val 20948062"/>
            <a:gd name="adj5" fmla="val 408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DD734DD-871C-44EF-9612-9D22D5B1ED4D}">
      <dsp:nvSpPr>
        <dsp:cNvPr id="0" name=""/>
        <dsp:cNvSpPr/>
      </dsp:nvSpPr>
      <dsp:spPr>
        <a:xfrm>
          <a:off x="7583865" y="3258351"/>
          <a:ext cx="968262" cy="9682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Code Coverage Check from IDE – Target 90-95%</a:t>
          </a:r>
        </a:p>
      </dsp:txBody>
      <dsp:txXfrm>
        <a:off x="7583865" y="3258351"/>
        <a:ext cx="968262" cy="968262"/>
      </dsp:txXfrm>
    </dsp:sp>
    <dsp:sp modelId="{79B8D80B-82FA-468D-8754-A8B85E348D2D}">
      <dsp:nvSpPr>
        <dsp:cNvPr id="0" name=""/>
        <dsp:cNvSpPr/>
      </dsp:nvSpPr>
      <dsp:spPr>
        <a:xfrm>
          <a:off x="3066746" y="90566"/>
          <a:ext cx="5395583" cy="5395583"/>
        </a:xfrm>
        <a:prstGeom prst="circularArrow">
          <a:avLst>
            <a:gd name="adj1" fmla="val 3499"/>
            <a:gd name="adj2" fmla="val 216984"/>
            <a:gd name="adj3" fmla="val 3069215"/>
            <a:gd name="adj4" fmla="val 2113802"/>
            <a:gd name="adj5" fmla="val 408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21413E3-B781-4A7F-8705-ED617ABD0ADE}">
      <dsp:nvSpPr>
        <dsp:cNvPr id="0" name=""/>
        <dsp:cNvSpPr/>
      </dsp:nvSpPr>
      <dsp:spPr>
        <a:xfrm>
          <a:off x="6234530" y="4607686"/>
          <a:ext cx="968262" cy="9682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SVN </a:t>
          </a:r>
          <a:r>
            <a:rPr lang="en-US" sz="1200" kern="1200" dirty="0" err="1"/>
            <a:t>Checkin</a:t>
          </a:r>
          <a:endParaRPr lang="en-US" sz="1200" kern="1200" dirty="0"/>
        </a:p>
      </dsp:txBody>
      <dsp:txXfrm>
        <a:off x="6234530" y="4607686"/>
        <a:ext cx="968262" cy="968262"/>
      </dsp:txXfrm>
    </dsp:sp>
    <dsp:sp modelId="{0D695A61-7583-46A4-B935-5936E274923C}">
      <dsp:nvSpPr>
        <dsp:cNvPr id="0" name=""/>
        <dsp:cNvSpPr/>
      </dsp:nvSpPr>
      <dsp:spPr>
        <a:xfrm>
          <a:off x="3066746" y="90566"/>
          <a:ext cx="5395583" cy="5395583"/>
        </a:xfrm>
        <a:prstGeom prst="circularArrow">
          <a:avLst>
            <a:gd name="adj1" fmla="val 3499"/>
            <a:gd name="adj2" fmla="val 216984"/>
            <a:gd name="adj3" fmla="val 5834954"/>
            <a:gd name="adj4" fmla="val 4748062"/>
            <a:gd name="adj5" fmla="val 408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7C70EFF-DCE9-4C6C-B65C-19A00787BCD3}">
      <dsp:nvSpPr>
        <dsp:cNvPr id="0" name=""/>
        <dsp:cNvSpPr/>
      </dsp:nvSpPr>
      <dsp:spPr>
        <a:xfrm>
          <a:off x="4326282" y="4607686"/>
          <a:ext cx="968262" cy="9682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Jenkins CI- Additional check with </a:t>
          </a:r>
          <a:r>
            <a:rPr lang="en-US" sz="1200" kern="1200" dirty="0" err="1"/>
            <a:t>Coverity</a:t>
          </a:r>
          <a:r>
            <a:rPr lang="en-US" sz="1200" kern="1200" dirty="0"/>
            <a:t> &amp; Black Duck </a:t>
          </a:r>
          <a:r>
            <a:rPr lang="en-US" sz="1200" kern="1200" dirty="0" err="1"/>
            <a:t>Opensource</a:t>
          </a:r>
          <a:r>
            <a:rPr lang="en-US" sz="1200" kern="1200" dirty="0"/>
            <a:t> Scan</a:t>
          </a:r>
        </a:p>
      </dsp:txBody>
      <dsp:txXfrm>
        <a:off x="4326282" y="4607686"/>
        <a:ext cx="968262" cy="968262"/>
      </dsp:txXfrm>
    </dsp:sp>
    <dsp:sp modelId="{2AEB5A8B-1576-4861-BE7F-E401AE4A28BE}">
      <dsp:nvSpPr>
        <dsp:cNvPr id="0" name=""/>
        <dsp:cNvSpPr/>
      </dsp:nvSpPr>
      <dsp:spPr>
        <a:xfrm>
          <a:off x="3066746" y="90566"/>
          <a:ext cx="5395583" cy="5395583"/>
        </a:xfrm>
        <a:prstGeom prst="circularArrow">
          <a:avLst>
            <a:gd name="adj1" fmla="val 3499"/>
            <a:gd name="adj2" fmla="val 216984"/>
            <a:gd name="adj3" fmla="val 8469215"/>
            <a:gd name="adj4" fmla="val 7513802"/>
            <a:gd name="adj5" fmla="val 408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B8D9198-B17C-450E-B167-4CDF496D3B93}">
      <dsp:nvSpPr>
        <dsp:cNvPr id="0" name=""/>
        <dsp:cNvSpPr/>
      </dsp:nvSpPr>
      <dsp:spPr>
        <a:xfrm>
          <a:off x="2976947" y="3258351"/>
          <a:ext cx="968262" cy="9682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Jenkins – Dev Build</a:t>
          </a:r>
        </a:p>
      </dsp:txBody>
      <dsp:txXfrm>
        <a:off x="2976947" y="3258351"/>
        <a:ext cx="968262" cy="968262"/>
      </dsp:txXfrm>
    </dsp:sp>
    <dsp:sp modelId="{786C62F9-9672-4779-839E-8F7AAB6449E6}">
      <dsp:nvSpPr>
        <dsp:cNvPr id="0" name=""/>
        <dsp:cNvSpPr/>
      </dsp:nvSpPr>
      <dsp:spPr>
        <a:xfrm>
          <a:off x="3066746" y="90566"/>
          <a:ext cx="5395583" cy="5395583"/>
        </a:xfrm>
        <a:prstGeom prst="circularArrow">
          <a:avLst>
            <a:gd name="adj1" fmla="val 3499"/>
            <a:gd name="adj2" fmla="val 216984"/>
            <a:gd name="adj3" fmla="val 11234954"/>
            <a:gd name="adj4" fmla="val 10148062"/>
            <a:gd name="adj5" fmla="val 408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0F2CA3E-A214-455C-A7AA-C101644CE17D}">
      <dsp:nvSpPr>
        <dsp:cNvPr id="0" name=""/>
        <dsp:cNvSpPr/>
      </dsp:nvSpPr>
      <dsp:spPr>
        <a:xfrm>
          <a:off x="2976947" y="1350103"/>
          <a:ext cx="968262" cy="9682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Jenkins – Deploy  (By Developer)</a:t>
          </a:r>
        </a:p>
      </dsp:txBody>
      <dsp:txXfrm>
        <a:off x="2976947" y="1350103"/>
        <a:ext cx="968262" cy="968262"/>
      </dsp:txXfrm>
    </dsp:sp>
    <dsp:sp modelId="{9928ABA6-C7A6-48DD-84B5-335134C3BCFC}">
      <dsp:nvSpPr>
        <dsp:cNvPr id="0" name=""/>
        <dsp:cNvSpPr/>
      </dsp:nvSpPr>
      <dsp:spPr>
        <a:xfrm>
          <a:off x="3066746" y="90566"/>
          <a:ext cx="5395583" cy="5395583"/>
        </a:xfrm>
        <a:prstGeom prst="circularArrow">
          <a:avLst>
            <a:gd name="adj1" fmla="val 3499"/>
            <a:gd name="adj2" fmla="val 216984"/>
            <a:gd name="adj3" fmla="val 13869215"/>
            <a:gd name="adj4" fmla="val 12913802"/>
            <a:gd name="adj5" fmla="val 408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E226930-F8B8-45EC-B406-855790FCE004}">
      <dsp:nvSpPr>
        <dsp:cNvPr id="0" name=""/>
        <dsp:cNvSpPr/>
      </dsp:nvSpPr>
      <dsp:spPr>
        <a:xfrm>
          <a:off x="4326282" y="768"/>
          <a:ext cx="968262" cy="9682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Jenkins – Deploy (By Dev Ops)</a:t>
          </a:r>
        </a:p>
      </dsp:txBody>
      <dsp:txXfrm>
        <a:off x="4326282" y="768"/>
        <a:ext cx="968262" cy="968262"/>
      </dsp:txXfrm>
    </dsp:sp>
    <dsp:sp modelId="{CED64963-3587-4DC5-A7A3-D81FBCC725E8}">
      <dsp:nvSpPr>
        <dsp:cNvPr id="0" name=""/>
        <dsp:cNvSpPr/>
      </dsp:nvSpPr>
      <dsp:spPr>
        <a:xfrm>
          <a:off x="3066746" y="90566"/>
          <a:ext cx="5395583" cy="5395583"/>
        </a:xfrm>
        <a:prstGeom prst="circularArrow">
          <a:avLst>
            <a:gd name="adj1" fmla="val 3499"/>
            <a:gd name="adj2" fmla="val 216984"/>
            <a:gd name="adj3" fmla="val 16634954"/>
            <a:gd name="adj4" fmla="val 15548062"/>
            <a:gd name="adj5" fmla="val 408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C61A68-4A71-4C3D-8813-A94CFAEBE319}" type="datetimeFigureOut">
              <a:rPr lang="en-US" smtClean="0"/>
              <a:t>4/1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42900" y="1143000"/>
            <a:ext cx="61722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DDCAE2-0354-461C-9FC7-6ABEB7B5D0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73388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2"/>
          <p:cNvSpPr>
            <a:spLocks noChangeAspect="1" noChangeArrowheads="1"/>
          </p:cNvSpPr>
          <p:nvPr/>
        </p:nvSpPr>
        <p:spPr bwMode="gray">
          <a:xfrm>
            <a:off x="6856813" y="3198814"/>
            <a:ext cx="4112420" cy="2741612"/>
          </a:xfrm>
          <a:prstGeom prst="rect">
            <a:avLst/>
          </a:prstGeom>
          <a:solidFill>
            <a:schemeClr val="accent1">
              <a:alpha val="25000"/>
            </a:schemeClr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solidFill>
                <a:srgbClr val="474747"/>
              </a:solidFill>
            </a:endParaRPr>
          </a:p>
        </p:txBody>
      </p:sp>
      <p:sp>
        <p:nvSpPr>
          <p:cNvPr id="5" name="Rectangle 13"/>
          <p:cNvSpPr>
            <a:spLocks noChangeArrowheads="1"/>
          </p:cNvSpPr>
          <p:nvPr/>
        </p:nvSpPr>
        <p:spPr bwMode="gray">
          <a:xfrm>
            <a:off x="2743204" y="455614"/>
            <a:ext cx="8227220" cy="2741612"/>
          </a:xfrm>
          <a:prstGeom prst="rect">
            <a:avLst/>
          </a:prstGeom>
          <a:solidFill>
            <a:srgbClr val="FFFFFF">
              <a:alpha val="95000"/>
            </a:srgbClr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solidFill>
                <a:srgbClr val="474747"/>
              </a:solidFill>
            </a:endParaRPr>
          </a:p>
        </p:txBody>
      </p:sp>
      <p:sp>
        <p:nvSpPr>
          <p:cNvPr id="6" name="Line 14"/>
          <p:cNvSpPr>
            <a:spLocks noChangeShapeType="1"/>
          </p:cNvSpPr>
          <p:nvPr/>
        </p:nvSpPr>
        <p:spPr bwMode="gray">
          <a:xfrm>
            <a:off x="6858000" y="568325"/>
            <a:ext cx="0" cy="251460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solidFill>
                <a:srgbClr val="474747"/>
              </a:solidFill>
            </a:endParaRP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58004" y="487363"/>
            <a:ext cx="4112420" cy="400110"/>
          </a:xfrm>
        </p:spPr>
        <p:txBody>
          <a:bodyPr/>
          <a:lstStyle>
            <a:lvl1pPr>
              <a:defRPr sz="2000">
                <a:solidFill>
                  <a:srgbClr val="474747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858004" y="1295409"/>
            <a:ext cx="4112420" cy="581025"/>
          </a:xfrm>
        </p:spPr>
        <p:txBody>
          <a:bodyPr/>
          <a:lstStyle>
            <a:lvl1pPr marL="0" indent="0">
              <a:spcBef>
                <a:spcPct val="30000"/>
              </a:spcBef>
              <a:buFont typeface="Wingdings" pitchFamily="2" charset="2"/>
              <a:buNone/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4" y="2818453"/>
            <a:ext cx="4112420" cy="2921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Date</a:t>
            </a:r>
          </a:p>
        </p:txBody>
      </p:sp>
    </p:spTree>
    <p:extLst>
      <p:ext uri="{BB962C8B-B14F-4D97-AF65-F5344CB8AC3E}">
        <p14:creationId xmlns:p14="http://schemas.microsoft.com/office/powerpoint/2010/main" val="29020611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CB695A-B38D-404F-8A51-C20ED0749767}" type="datetimeFigureOut">
              <a:rPr lang="en-IN" smtClean="0"/>
              <a:t>13-04-2022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5801AD-2E18-4EEA-AD2C-27DAF8E82B1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849245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6625" y="1709738"/>
            <a:ext cx="1183005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36625" y="4589463"/>
            <a:ext cx="1183005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CB695A-B38D-404F-8A51-C20ED0749767}" type="datetimeFigureOut">
              <a:rPr lang="en-IN" smtClean="0"/>
              <a:t>13-04-2022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5801AD-2E18-4EEA-AD2C-27DAF8E82B1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382115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2975" y="1825625"/>
            <a:ext cx="5838825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934200" y="1825625"/>
            <a:ext cx="5838825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CB695A-B38D-404F-8A51-C20ED0749767}" type="datetimeFigureOut">
              <a:rPr lang="en-IN" smtClean="0"/>
              <a:t>13-04-2022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5801AD-2E18-4EEA-AD2C-27DAF8E82B1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818865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4563" y="365125"/>
            <a:ext cx="1183005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4563" y="1681163"/>
            <a:ext cx="580231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44563" y="2505075"/>
            <a:ext cx="5802312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943725" y="1681163"/>
            <a:ext cx="58308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943725" y="2505075"/>
            <a:ext cx="58308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CB695A-B38D-404F-8A51-C20ED0749767}" type="datetimeFigureOut">
              <a:rPr lang="en-IN" smtClean="0"/>
              <a:t>13-04-2022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5801AD-2E18-4EEA-AD2C-27DAF8E82B1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917338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CB695A-B38D-404F-8A51-C20ED0749767}" type="datetimeFigureOut">
              <a:rPr lang="en-IN" smtClean="0"/>
              <a:t>13-04-2022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5801AD-2E18-4EEA-AD2C-27DAF8E82B1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0147224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CB695A-B38D-404F-8A51-C20ED0749767}" type="datetimeFigureOut">
              <a:rPr lang="en-IN" smtClean="0"/>
              <a:t>13-04-2022</a:t>
            </a:fld>
            <a:endParaRPr lang="en-I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5801AD-2E18-4EEA-AD2C-27DAF8E82B1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3478764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4563" y="457200"/>
            <a:ext cx="4424362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30888" y="987425"/>
            <a:ext cx="6943725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44563" y="2057400"/>
            <a:ext cx="4424362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CB695A-B38D-404F-8A51-C20ED0749767}" type="datetimeFigureOut">
              <a:rPr lang="en-IN" smtClean="0"/>
              <a:t>13-04-2022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5801AD-2E18-4EEA-AD2C-27DAF8E82B1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7360830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4563" y="457200"/>
            <a:ext cx="4424362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830888" y="987425"/>
            <a:ext cx="6943725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44563" y="2057400"/>
            <a:ext cx="4424362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CB695A-B38D-404F-8A51-C20ED0749767}" type="datetimeFigureOut">
              <a:rPr lang="en-IN" smtClean="0"/>
              <a:t>13-04-2022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5801AD-2E18-4EEA-AD2C-27DAF8E82B1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3158347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CB695A-B38D-404F-8A51-C20ED0749767}" type="datetimeFigureOut">
              <a:rPr lang="en-IN" smtClean="0"/>
              <a:t>13-04-2022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5801AD-2E18-4EEA-AD2C-27DAF8E82B1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4284293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815513" y="365125"/>
            <a:ext cx="2957512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42975" y="365125"/>
            <a:ext cx="8720138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CB695A-B38D-404F-8A51-C20ED0749767}" type="datetimeFigureOut">
              <a:rPr lang="en-IN" smtClean="0"/>
              <a:t>13-04-2022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5801AD-2E18-4EEA-AD2C-27DAF8E82B1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107070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386" y="1596"/>
          <a:ext cx="23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6" y="1596"/>
                        <a:ext cx="238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2934" y="301758"/>
            <a:ext cx="12706350" cy="769441"/>
          </a:xfrm>
        </p:spPr>
        <p:txBody>
          <a:bodyPr anchor="t"/>
          <a:lstStyle>
            <a:lvl1pPr>
              <a:defRPr>
                <a:solidFill>
                  <a:srgbClr val="0081C6"/>
                </a:solidFill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 marL="571501" indent="-228599">
              <a:buFont typeface="Trebuchet MS" panose="020B0603020202020204" pitchFamily="34" charset="0"/>
              <a:buChar char="―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B901D1-D6F8-4F4F-A72A-71883671B0B6}" type="slidenum">
              <a:rPr lang="en-US">
                <a:solidFill>
                  <a:srgbClr val="474747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474747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375404" y="6309360"/>
            <a:ext cx="7886700" cy="40233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Type source and footnotes here</a:t>
            </a:r>
          </a:p>
        </p:txBody>
      </p:sp>
    </p:spTree>
    <p:extLst>
      <p:ext uri="{BB962C8B-B14F-4D97-AF65-F5344CB8AC3E}">
        <p14:creationId xmlns:p14="http://schemas.microsoft.com/office/powerpoint/2010/main" val="25220560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sic Title/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" y="2206737"/>
            <a:ext cx="13715999" cy="892552"/>
          </a:xfrm>
          <a:solidFill>
            <a:schemeClr val="bg1"/>
          </a:solidFill>
        </p:spPr>
        <p:txBody>
          <a:bodyPr vert="horz" lIns="91440" tIns="45720" rIns="91440" bIns="45720" rtlCol="0" anchor="b" anchorCtr="0">
            <a:spAutoFit/>
          </a:bodyPr>
          <a:lstStyle>
            <a:lvl1pPr algn="ctr">
              <a:defRPr lang="en-US" sz="5200" cap="all" baseline="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/>
            <a:r>
              <a:rPr lang="en-US"/>
              <a:t>Presentation Headlin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" y="2971800"/>
            <a:ext cx="13715997" cy="644820"/>
          </a:xfrm>
          <a:solidFill>
            <a:schemeClr val="bg1"/>
          </a:solidFill>
        </p:spPr>
        <p:txBody>
          <a:bodyPr>
            <a:normAutofit/>
          </a:bodyPr>
          <a:lstStyle>
            <a:lvl1pPr marL="0" indent="0" algn="ctr">
              <a:buNone/>
              <a:defRPr lang="en-US" sz="2800" kern="1200" dirty="0">
                <a:solidFill>
                  <a:schemeClr val="accent4"/>
                </a:solidFill>
                <a:latin typeface="Trebuchet MS"/>
                <a:ea typeface="+mj-ea"/>
                <a:cs typeface="Trebuchet M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er’s Name, Presenter’s Tit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3616621"/>
            <a:ext cx="13716000" cy="498368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algn="ctr" defTabSz="457200" rtl="0" eaLnBrk="1" latinLnBrk="0" hangingPunct="1">
              <a:spcBef>
                <a:spcPct val="0"/>
              </a:spcBef>
              <a:buNone/>
              <a:defRPr lang="en-US" sz="2400" kern="1200" cap="all" baseline="0" dirty="0" smtClean="0">
                <a:solidFill>
                  <a:schemeClr val="tx1">
                    <a:lumMod val="75000"/>
                  </a:schemeClr>
                </a:solidFill>
                <a:latin typeface="Century Gothic"/>
                <a:ea typeface="+mj-ea"/>
                <a:cs typeface="Century Gothic"/>
              </a:defRPr>
            </a:lvl1pPr>
          </a:lstStyle>
          <a:p>
            <a:pPr lvl="0"/>
            <a:r>
              <a:rPr lang="en-US"/>
              <a:t>ENTER DATE HERE</a:t>
            </a:r>
          </a:p>
        </p:txBody>
      </p:sp>
    </p:spTree>
    <p:extLst>
      <p:ext uri="{BB962C8B-B14F-4D97-AF65-F5344CB8AC3E}">
        <p14:creationId xmlns:p14="http://schemas.microsoft.com/office/powerpoint/2010/main" val="344537724"/>
      </p:ext>
    </p:extLst>
  </p:cSld>
  <p:clrMapOvr>
    <a:masterClrMapping/>
  </p:clrMapOvr>
  <p:transition spd="slow">
    <p:split orient="vert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 bwMode="gray">
          <a:xfrm>
            <a:off x="0" y="896466"/>
            <a:ext cx="13716000" cy="0"/>
          </a:xfrm>
          <a:prstGeom prst="line">
            <a:avLst/>
          </a:prstGeom>
          <a:ln w="6350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89504" y="32952"/>
            <a:ext cx="13017493" cy="896466"/>
          </a:xfrm>
        </p:spPr>
        <p:txBody>
          <a:bodyPr>
            <a:normAutofit/>
          </a:bodyPr>
          <a:lstStyle>
            <a:lvl1pPr algn="l">
              <a:lnSpc>
                <a:spcPts val="2800"/>
              </a:lnSpc>
              <a:defRPr lang="en-US" sz="2600" kern="1200" smtClean="0">
                <a:solidFill>
                  <a:schemeClr val="tx1">
                    <a:lumMod val="75000"/>
                  </a:schemeClr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Headline goes here in sentence for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481920" y="1100452"/>
            <a:ext cx="13025078" cy="5341538"/>
          </a:xfrm>
        </p:spPr>
        <p:txBody>
          <a:bodyPr/>
          <a:lstStyle>
            <a:lvl1pPr marL="0" indent="0">
              <a:spcBef>
                <a:spcPts val="600"/>
              </a:spcBef>
              <a:spcAft>
                <a:spcPts val="400"/>
              </a:spcAft>
              <a:buFontTx/>
              <a:buNone/>
              <a:defRPr sz="2400">
                <a:solidFill>
                  <a:schemeClr val="accent1"/>
                </a:solidFill>
                <a:latin typeface="Trebuchet MS" pitchFamily="34" charset="0"/>
              </a:defRPr>
            </a:lvl1pPr>
            <a:lvl2pPr marL="288926" indent="-288926">
              <a:buFontTx/>
              <a:buBlip>
                <a:blip r:embed="rId2"/>
              </a:buBlip>
              <a:defRPr sz="2000" baseline="0">
                <a:solidFill>
                  <a:schemeClr val="tx1">
                    <a:lumMod val="75000"/>
                  </a:schemeClr>
                </a:solidFill>
                <a:latin typeface="Century Gothic" pitchFamily="34" charset="0"/>
              </a:defRPr>
            </a:lvl2pPr>
            <a:lvl3pPr marL="509588" indent="-228599">
              <a:buClr>
                <a:schemeClr val="accent1"/>
              </a:buClr>
              <a:buFont typeface="Arial" pitchFamily="34" charset="0"/>
              <a:buChar char="+"/>
              <a:defRPr sz="1600" baseline="0">
                <a:solidFill>
                  <a:schemeClr val="tx1">
                    <a:lumMod val="75000"/>
                  </a:schemeClr>
                </a:solidFill>
                <a:latin typeface="Century Gothic" pitchFamily="34" charset="0"/>
              </a:defRPr>
            </a:lvl3pPr>
            <a:lvl4pPr marL="744538" indent="-228599">
              <a:buClr>
                <a:schemeClr val="accent1"/>
              </a:buClr>
              <a:buFont typeface="Century Gothic" pitchFamily="34" charset="0"/>
              <a:buChar char="&gt;"/>
              <a:defRPr sz="1600">
                <a:solidFill>
                  <a:schemeClr val="tx1">
                    <a:lumMod val="75000"/>
                  </a:schemeClr>
                </a:solidFill>
                <a:latin typeface="Century Gothic" pitchFamily="34" charset="0"/>
              </a:defRPr>
            </a:lvl4pPr>
            <a:lvl5pPr marL="968376" indent="-228599">
              <a:buClr>
                <a:srgbClr val="6E787B"/>
              </a:buClr>
              <a:buFont typeface="Arial" pitchFamily="34" charset="0"/>
              <a:buChar char="+"/>
              <a:defRPr sz="1600">
                <a:solidFill>
                  <a:schemeClr val="tx1">
                    <a:lumMod val="75000"/>
                  </a:schemeClr>
                </a:solidFill>
                <a:latin typeface="Century Gothic" pitchFamily="34" charset="0"/>
              </a:defRPr>
            </a:lvl5pPr>
          </a:lstStyle>
          <a:p>
            <a:pPr lvl="0"/>
            <a:r>
              <a:rPr lang="en-US"/>
              <a:t>Click to edit subhead 1</a:t>
            </a:r>
          </a:p>
          <a:p>
            <a:pPr lvl="1"/>
            <a:r>
              <a:rPr lang="en-US"/>
              <a:t>Click to edit bullet 1</a:t>
            </a:r>
          </a:p>
          <a:p>
            <a:pPr lvl="2"/>
            <a:r>
              <a:rPr lang="en-US"/>
              <a:t>Click to edit sub bullet 2</a:t>
            </a:r>
          </a:p>
          <a:p>
            <a:pPr lvl="3"/>
            <a:r>
              <a:rPr lang="en-US"/>
              <a:t>Click to edit sub bullet 3</a:t>
            </a:r>
          </a:p>
          <a:p>
            <a:pPr lvl="4"/>
            <a:r>
              <a:rPr lang="en-US"/>
              <a:t>Click to edit sub bullet 4</a:t>
            </a:r>
          </a:p>
        </p:txBody>
      </p:sp>
    </p:spTree>
    <p:extLst>
      <p:ext uri="{BB962C8B-B14F-4D97-AF65-F5344CB8AC3E}">
        <p14:creationId xmlns:p14="http://schemas.microsoft.com/office/powerpoint/2010/main" val="4101915061"/>
      </p:ext>
    </p:extLst>
  </p:cSld>
  <p:clrMapOvr>
    <a:masterClrMapping/>
  </p:clrMapOvr>
  <p:transition spd="slow">
    <p:split orient="vert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91559" y="36576"/>
            <a:ext cx="13015439" cy="896466"/>
          </a:xfrm>
        </p:spPr>
        <p:txBody>
          <a:bodyPr>
            <a:normAutofit/>
          </a:bodyPr>
          <a:lstStyle>
            <a:lvl1pPr algn="l">
              <a:lnSpc>
                <a:spcPts val="2800"/>
              </a:lnSpc>
              <a:defRPr lang="en-US" sz="2600" kern="1200" dirty="0" smtClean="0">
                <a:solidFill>
                  <a:schemeClr val="tx1">
                    <a:lumMod val="75000"/>
                  </a:schemeClr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Headline goes here in sentence form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896466"/>
            <a:ext cx="13716000" cy="0"/>
          </a:xfrm>
          <a:prstGeom prst="line">
            <a:avLst/>
          </a:prstGeom>
          <a:ln w="6350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449875"/>
      </p:ext>
    </p:extLst>
  </p:cSld>
  <p:clrMapOvr>
    <a:masterClrMapping/>
  </p:clrMapOvr>
  <p:transition spd="slow">
    <p:split orient="vert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0289" y="2761692"/>
            <a:ext cx="13015439" cy="896466"/>
          </a:xfrm>
          <a:prstGeom prst="roundRect">
            <a:avLst/>
          </a:prstGeom>
          <a:solidFill>
            <a:schemeClr val="accent1"/>
          </a:solidFill>
        </p:spPr>
        <p:txBody>
          <a:bodyPr>
            <a:normAutofit/>
          </a:bodyPr>
          <a:lstStyle>
            <a:lvl1pPr algn="ctr">
              <a:lnSpc>
                <a:spcPts val="2800"/>
              </a:lnSpc>
              <a:defRPr lang="en-US" sz="2800" b="1" i="1" kern="1200" dirty="0" smtClean="0">
                <a:solidFill>
                  <a:schemeClr val="bg1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Headline goes here in sentence form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896466"/>
            <a:ext cx="13716000" cy="0"/>
          </a:xfrm>
          <a:prstGeom prst="line">
            <a:avLst/>
          </a:prstGeom>
          <a:ln w="6350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 txBox="1">
            <a:spLocks/>
          </p:cNvSpPr>
          <p:nvPr userDrawn="1"/>
        </p:nvSpPr>
        <p:spPr>
          <a:xfrm>
            <a:off x="504142" y="6573226"/>
            <a:ext cx="5291182" cy="26658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base">
              <a:spcAft>
                <a:spcPct val="0"/>
              </a:spcAft>
            </a:pPr>
            <a:fld id="{CF93EE7D-6689-4778-B89F-3EEF780A01DC}" type="slidenum">
              <a:rPr lang="en-US" sz="900" smtClean="0">
                <a:solidFill>
                  <a:srgbClr val="008ED0"/>
                </a:solidFill>
                <a:latin typeface="Trebuchet MS"/>
                <a:cs typeface="Trebuchet MS"/>
              </a:rPr>
              <a:pPr algn="l" fontAlgn="base">
                <a:spcAft>
                  <a:spcPct val="0"/>
                </a:spcAft>
              </a:pPr>
              <a:t>‹#›</a:t>
            </a:fld>
            <a:r>
              <a:rPr lang="en-US" sz="900">
                <a:solidFill>
                  <a:srgbClr val="008ED0"/>
                </a:solidFill>
                <a:latin typeface="Trebuchet MS"/>
                <a:cs typeface="Trebuchet MS"/>
              </a:rPr>
              <a:t> </a:t>
            </a:r>
            <a:r>
              <a:rPr lang="en-US" sz="900">
                <a:solidFill>
                  <a:srgbClr val="595959">
                    <a:lumMod val="75000"/>
                  </a:srgbClr>
                </a:solidFill>
                <a:latin typeface="Trebuchet MS"/>
                <a:cs typeface="Trebuchet MS"/>
              </a:rPr>
              <a:t>| </a:t>
            </a:r>
            <a:fld id="{84D20077-DA0E-4E91-ADC7-8CBCF822B402}" type="datetime4">
              <a:rPr lang="en-US" sz="900" smtClean="0">
                <a:solidFill>
                  <a:srgbClr val="595959">
                    <a:lumMod val="75000"/>
                  </a:srgbClr>
                </a:solidFill>
                <a:latin typeface="Trebuchet MS"/>
                <a:cs typeface="Trebuchet MS"/>
              </a:rPr>
              <a:pPr algn="l" fontAlgn="base">
                <a:spcAft>
                  <a:spcPct val="0"/>
                </a:spcAft>
              </a:pPr>
              <a:t>April 13, 2022</a:t>
            </a:fld>
            <a:r>
              <a:rPr lang="en-US" sz="900">
                <a:solidFill>
                  <a:srgbClr val="595959">
                    <a:lumMod val="75000"/>
                  </a:srgbClr>
                </a:solidFill>
                <a:latin typeface="Trebuchet MS"/>
                <a:cs typeface="Trebuchet MS"/>
              </a:rPr>
              <a:t> | © </a:t>
            </a:r>
            <a:r>
              <a:rPr lang="en-US" sz="900" spc="-40">
                <a:solidFill>
                  <a:srgbClr val="595959">
                    <a:lumMod val="75000"/>
                  </a:srgbClr>
                </a:solidFill>
                <a:latin typeface="Trebuchet MS"/>
                <a:cs typeface="Trebuchet MS"/>
              </a:rPr>
              <a:t>201</a:t>
            </a:r>
            <a:r>
              <a:rPr lang="en-US" sz="900">
                <a:solidFill>
                  <a:srgbClr val="595959">
                    <a:lumMod val="75000"/>
                  </a:srgbClr>
                </a:solidFill>
                <a:latin typeface="Trebuchet MS"/>
                <a:cs typeface="Trebuchet MS"/>
              </a:rPr>
              <a:t>5 ExlService Holdings, Inc.</a:t>
            </a:r>
          </a:p>
        </p:txBody>
      </p:sp>
    </p:spTree>
    <p:extLst>
      <p:ext uri="{BB962C8B-B14F-4D97-AF65-F5344CB8AC3E}">
        <p14:creationId xmlns:p14="http://schemas.microsoft.com/office/powerpoint/2010/main" val="3292035349"/>
      </p:ext>
    </p:extLst>
  </p:cSld>
  <p:clrMapOvr>
    <a:masterClrMapping/>
  </p:clrMapOvr>
  <p:transition spd="slow">
    <p:split orient="vert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9054183"/>
      </p:ext>
    </p:extLst>
  </p:cSld>
  <p:clrMapOvr>
    <a:masterClrMapping/>
  </p:clrMapOvr>
  <p:transition spd="slow">
    <p:split orient="vert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1553" y="36576"/>
            <a:ext cx="12344400" cy="896466"/>
          </a:xfrm>
        </p:spPr>
        <p:txBody>
          <a:bodyPr>
            <a:normAutofit/>
          </a:bodyPr>
          <a:lstStyle>
            <a:lvl1pPr algn="l">
              <a:lnSpc>
                <a:spcPts val="2800"/>
              </a:lnSpc>
              <a:defRPr lang="en-US" sz="2600" kern="1200" dirty="0" smtClean="0">
                <a:solidFill>
                  <a:schemeClr val="tx1">
                    <a:lumMod val="75000"/>
                  </a:schemeClr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Headline goes here in sentence for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1553" y="1100454"/>
            <a:ext cx="6057900" cy="5443151"/>
          </a:xfrm>
        </p:spPr>
        <p:txBody>
          <a:bodyPr/>
          <a:lstStyle>
            <a:lvl1pPr marL="0" indent="0">
              <a:spcAft>
                <a:spcPts val="400"/>
              </a:spcAft>
              <a:buFontTx/>
              <a:buNone/>
              <a:defRPr sz="2400" baseline="0">
                <a:solidFill>
                  <a:schemeClr val="accent1"/>
                </a:solidFill>
                <a:latin typeface="Trebuchet MS" pitchFamily="34" charset="0"/>
              </a:defRPr>
            </a:lvl1pPr>
            <a:lvl2pPr marL="288926" indent="-285749">
              <a:buFontTx/>
              <a:buBlip>
                <a:blip r:embed="rId2"/>
              </a:buBlip>
              <a:defRPr sz="2000" baseline="0">
                <a:solidFill>
                  <a:schemeClr val="tx1">
                    <a:lumMod val="75000"/>
                  </a:schemeClr>
                </a:solidFill>
                <a:latin typeface="Century Gothic" pitchFamily="34" charset="0"/>
              </a:defRPr>
            </a:lvl2pPr>
            <a:lvl3pPr marL="511175" indent="-230189">
              <a:buClr>
                <a:schemeClr val="accent1"/>
              </a:buClr>
              <a:buFont typeface="Arial" pitchFamily="34" charset="0"/>
              <a:buChar char="+"/>
              <a:defRPr sz="1600">
                <a:solidFill>
                  <a:schemeClr val="tx1">
                    <a:lumMod val="75000"/>
                  </a:schemeClr>
                </a:solidFill>
                <a:latin typeface="Century Gothic" pitchFamily="34" charset="0"/>
              </a:defRPr>
            </a:lvl3pPr>
            <a:lvl4pPr marL="742950" indent="-228599">
              <a:buClr>
                <a:schemeClr val="accent1"/>
              </a:buClr>
              <a:buFont typeface="Century Gothic" pitchFamily="34" charset="0"/>
              <a:buChar char="&gt;"/>
              <a:defRPr sz="1600">
                <a:solidFill>
                  <a:schemeClr val="tx1">
                    <a:lumMod val="75000"/>
                  </a:schemeClr>
                </a:solidFill>
                <a:latin typeface="Century Gothic" pitchFamily="34" charset="0"/>
              </a:defRPr>
            </a:lvl4pPr>
            <a:lvl5pPr marL="971551" indent="-228599">
              <a:buFont typeface="Arial" pitchFamily="34" charset="0"/>
              <a:buChar char="+"/>
              <a:tabLst/>
              <a:defRPr sz="1600">
                <a:solidFill>
                  <a:schemeClr val="tx1">
                    <a:lumMod val="75000"/>
                  </a:schemeClr>
                </a:solidFill>
                <a:latin typeface="Century Gothic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subhead 1</a:t>
            </a:r>
          </a:p>
          <a:p>
            <a:pPr lvl="1"/>
            <a:r>
              <a:rPr lang="en-US"/>
              <a:t>Click to edit bullet 1</a:t>
            </a:r>
          </a:p>
          <a:p>
            <a:pPr lvl="2"/>
            <a:r>
              <a:rPr lang="en-US"/>
              <a:t>Click to edit sub bullet 2</a:t>
            </a:r>
          </a:p>
          <a:p>
            <a:pPr lvl="3"/>
            <a:r>
              <a:rPr lang="en-US"/>
              <a:t>Click to edit sub bullet 3</a:t>
            </a:r>
          </a:p>
          <a:p>
            <a:pPr lvl="4"/>
            <a:r>
              <a:rPr lang="en-US"/>
              <a:t>Click to edit sub bullet 4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778053" y="1100454"/>
            <a:ext cx="6057900" cy="5443151"/>
          </a:xfrm>
        </p:spPr>
        <p:txBody>
          <a:bodyPr/>
          <a:lstStyle>
            <a:lvl1pPr>
              <a:spcAft>
                <a:spcPts val="400"/>
              </a:spcAft>
              <a:defRPr lang="en-US" sz="2400" kern="1200" dirty="0" smtClean="0">
                <a:solidFill>
                  <a:schemeClr val="accent1"/>
                </a:solidFill>
                <a:latin typeface="Trebuchet MS" pitchFamily="34" charset="0"/>
                <a:ea typeface="+mn-ea"/>
                <a:cs typeface="+mn-cs"/>
              </a:defRPr>
            </a:lvl1pPr>
            <a:lvl2pPr marL="346076" indent="-342899">
              <a:defRPr lang="en-US" sz="2000" kern="1200" dirty="0" smtClean="0">
                <a:solidFill>
                  <a:schemeClr val="tx1">
                    <a:lumMod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2pPr>
            <a:lvl3pPr marL="623888" indent="-342899">
              <a:defRPr lang="en-US" sz="1600" kern="1200" dirty="0" smtClean="0">
                <a:solidFill>
                  <a:schemeClr val="tx1">
                    <a:lumMod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3pPr>
            <a:lvl4pPr marL="800100" indent="-285749">
              <a:defRPr lang="en-US" sz="1600" kern="1200" dirty="0" smtClean="0">
                <a:solidFill>
                  <a:schemeClr val="tx1">
                    <a:lumMod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028700" indent="-285749">
              <a:defRPr lang="en-US" sz="1600" kern="1200" dirty="0">
                <a:solidFill>
                  <a:schemeClr val="tx1">
                    <a:lumMod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subhead 1</a:t>
            </a:r>
          </a:p>
          <a:p>
            <a:pPr lvl="1"/>
            <a:r>
              <a:rPr lang="en-US"/>
              <a:t>Click to edit bullet 1</a:t>
            </a:r>
          </a:p>
          <a:p>
            <a:pPr lvl="2"/>
            <a:r>
              <a:rPr lang="en-US"/>
              <a:t>Click to edit sub bullet 2</a:t>
            </a:r>
          </a:p>
          <a:p>
            <a:pPr lvl="3"/>
            <a:r>
              <a:rPr lang="en-US"/>
              <a:t>Click to edit sub bullet 3</a:t>
            </a:r>
          </a:p>
          <a:p>
            <a:pPr lvl="4"/>
            <a:r>
              <a:rPr lang="en-US"/>
              <a:t>Click to edit sub bullet 4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896466"/>
            <a:ext cx="13716000" cy="0"/>
          </a:xfrm>
          <a:prstGeom prst="line">
            <a:avLst/>
          </a:prstGeom>
          <a:ln w="6350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42648889"/>
      </p:ext>
    </p:extLst>
  </p:cSld>
  <p:clrMapOvr>
    <a:masterClrMapping/>
  </p:clrMapOvr>
  <p:transition spd="slow">
    <p:split orient="vert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0" y="896466"/>
            <a:ext cx="13716000" cy="0"/>
          </a:xfrm>
          <a:prstGeom prst="line">
            <a:avLst/>
          </a:prstGeom>
          <a:ln w="6350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1559" y="32952"/>
            <a:ext cx="13015439" cy="896466"/>
          </a:xfrm>
        </p:spPr>
        <p:txBody>
          <a:bodyPr>
            <a:normAutofit/>
          </a:bodyPr>
          <a:lstStyle>
            <a:lvl1pPr algn="l">
              <a:lnSpc>
                <a:spcPts val="2800"/>
              </a:lnSpc>
              <a:defRPr lang="en-US" sz="2600" kern="1200" smtClean="0">
                <a:solidFill>
                  <a:schemeClr val="tx1">
                    <a:lumMod val="75000"/>
                  </a:schemeClr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Headline goes here in sentence for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17719" y="1100458"/>
            <a:ext cx="8889273" cy="5220753"/>
          </a:xfrm>
        </p:spPr>
        <p:txBody>
          <a:bodyPr/>
          <a:lstStyle>
            <a:lvl1pPr marL="0" indent="0">
              <a:spcBef>
                <a:spcPts val="600"/>
              </a:spcBef>
              <a:spcAft>
                <a:spcPts val="400"/>
              </a:spcAft>
              <a:buFontTx/>
              <a:buNone/>
              <a:defRPr sz="2400">
                <a:solidFill>
                  <a:schemeClr val="accent1"/>
                </a:solidFill>
                <a:latin typeface="Trebuchet MS" pitchFamily="34" charset="0"/>
              </a:defRPr>
            </a:lvl1pPr>
            <a:lvl2pPr marL="288926" indent="-288926">
              <a:buFontTx/>
              <a:buBlip>
                <a:blip r:embed="rId2"/>
              </a:buBlip>
              <a:defRPr sz="2000" baseline="0">
                <a:solidFill>
                  <a:schemeClr val="tx1">
                    <a:lumMod val="75000"/>
                  </a:schemeClr>
                </a:solidFill>
                <a:latin typeface="Century Gothic" pitchFamily="34" charset="0"/>
              </a:defRPr>
            </a:lvl2pPr>
            <a:lvl3pPr marL="509588" indent="-228599">
              <a:buClr>
                <a:schemeClr val="accent1"/>
              </a:buClr>
              <a:buFont typeface="Arial" pitchFamily="34" charset="0"/>
              <a:buChar char="+"/>
              <a:defRPr sz="1600" baseline="0">
                <a:solidFill>
                  <a:schemeClr val="tx1">
                    <a:lumMod val="75000"/>
                  </a:schemeClr>
                </a:solidFill>
                <a:latin typeface="Century Gothic" pitchFamily="34" charset="0"/>
              </a:defRPr>
            </a:lvl3pPr>
            <a:lvl4pPr marL="744538" indent="-228599">
              <a:buClr>
                <a:schemeClr val="accent1"/>
              </a:buClr>
              <a:buFont typeface="Century Gothic" pitchFamily="34" charset="0"/>
              <a:buChar char="&gt;"/>
              <a:defRPr sz="1600">
                <a:solidFill>
                  <a:schemeClr val="tx1">
                    <a:lumMod val="75000"/>
                  </a:schemeClr>
                </a:solidFill>
                <a:latin typeface="Century Gothic" pitchFamily="34" charset="0"/>
              </a:defRPr>
            </a:lvl4pPr>
            <a:lvl5pPr marL="968376" indent="-228599">
              <a:buClr>
                <a:srgbClr val="6E787B"/>
              </a:buClr>
              <a:buFont typeface="Arial" pitchFamily="34" charset="0"/>
              <a:buChar char="+"/>
              <a:defRPr sz="1600">
                <a:solidFill>
                  <a:schemeClr val="tx1">
                    <a:lumMod val="75000"/>
                  </a:schemeClr>
                </a:solidFill>
                <a:latin typeface="Century Gothic" pitchFamily="34" charset="0"/>
              </a:defRPr>
            </a:lvl5pPr>
          </a:lstStyle>
          <a:p>
            <a:pPr lvl="0"/>
            <a:r>
              <a:rPr lang="en-US"/>
              <a:t>Click to edit subhead 1</a:t>
            </a:r>
          </a:p>
          <a:p>
            <a:pPr lvl="1"/>
            <a:r>
              <a:rPr lang="en-US"/>
              <a:t>Click to edit bullet 1</a:t>
            </a:r>
          </a:p>
          <a:p>
            <a:pPr lvl="2"/>
            <a:r>
              <a:rPr lang="en-US"/>
              <a:t>Click to edit sub bullet 2</a:t>
            </a:r>
          </a:p>
          <a:p>
            <a:pPr lvl="3"/>
            <a:r>
              <a:rPr lang="en-US"/>
              <a:t>Click to edit sub bullet 3</a:t>
            </a:r>
          </a:p>
          <a:p>
            <a:pPr lvl="4"/>
            <a:r>
              <a:rPr lang="en-US"/>
              <a:t>Click to edit sub bullet 4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3919461" y="909919"/>
            <a:ext cx="0" cy="5948081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8" y="905176"/>
            <a:ext cx="3919537" cy="5952824"/>
          </a:xfrm>
        </p:spPr>
        <p:txBody>
          <a:bodyPr/>
          <a:lstStyle>
            <a:lvl1pPr marL="0" marR="0" indent="0" algn="l" defTabSz="91440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buClrTx/>
              <a:buSzTx/>
              <a:buFontTx/>
              <a:buNone/>
              <a:tabLst/>
              <a:defRPr sz="1400" baseline="0"/>
            </a:lvl1pPr>
            <a:lvl2pPr marL="227013" indent="0">
              <a:buNone/>
              <a:defRPr sz="1400"/>
            </a:lvl2pPr>
          </a:lstStyle>
          <a:p>
            <a:r>
              <a:rPr lang="en-US"/>
              <a:t>To insert a picture click the icon below</a:t>
            </a:r>
          </a:p>
        </p:txBody>
      </p:sp>
      <p:sp>
        <p:nvSpPr>
          <p:cNvPr id="11" name="Title 1"/>
          <p:cNvSpPr txBox="1">
            <a:spLocks/>
          </p:cNvSpPr>
          <p:nvPr userDrawn="1"/>
        </p:nvSpPr>
        <p:spPr>
          <a:xfrm>
            <a:off x="4633223" y="6573226"/>
            <a:ext cx="8503920" cy="26658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fld id="{CF93EE7D-6689-4778-B89F-3EEF780A01DC}" type="slidenum">
              <a:rPr lang="en-US" sz="900" smtClean="0">
                <a:solidFill>
                  <a:srgbClr val="008ED0"/>
                </a:solidFill>
                <a:latin typeface="Trebuchet MS"/>
                <a:cs typeface="Trebuchet MS"/>
              </a:rPr>
              <a:pPr algn="l"/>
              <a:t>‹#›</a:t>
            </a:fld>
            <a:r>
              <a:rPr lang="en-US" sz="900">
                <a:solidFill>
                  <a:srgbClr val="008ED0"/>
                </a:solidFill>
                <a:latin typeface="Trebuchet MS"/>
                <a:cs typeface="Trebuchet MS"/>
              </a:rPr>
              <a:t> </a:t>
            </a:r>
            <a:r>
              <a:rPr lang="en-US" sz="900">
                <a:solidFill>
                  <a:srgbClr val="595959">
                    <a:lumMod val="75000"/>
                  </a:srgbClr>
                </a:solidFill>
                <a:latin typeface="Trebuchet MS"/>
                <a:cs typeface="Trebuchet MS"/>
              </a:rPr>
              <a:t>| </a:t>
            </a:r>
            <a:fld id="{84D20077-DA0E-4E91-ADC7-8CBCF822B402}" type="datetime4">
              <a:rPr lang="en-US" sz="900" smtClean="0">
                <a:solidFill>
                  <a:srgbClr val="595959">
                    <a:lumMod val="75000"/>
                  </a:srgbClr>
                </a:solidFill>
                <a:latin typeface="Trebuchet MS"/>
                <a:cs typeface="Trebuchet MS"/>
              </a:rPr>
              <a:pPr algn="l"/>
              <a:t>April 13, 2022</a:t>
            </a:fld>
            <a:r>
              <a:rPr lang="en-US" sz="900">
                <a:solidFill>
                  <a:srgbClr val="595959">
                    <a:lumMod val="75000"/>
                  </a:srgbClr>
                </a:solidFill>
                <a:latin typeface="Trebuchet MS"/>
                <a:cs typeface="Trebuchet MS"/>
              </a:rPr>
              <a:t> | © </a:t>
            </a:r>
            <a:r>
              <a:rPr lang="en-US" sz="900" spc="-40">
                <a:solidFill>
                  <a:srgbClr val="595959">
                    <a:lumMod val="75000"/>
                  </a:srgbClr>
                </a:solidFill>
                <a:latin typeface="Trebuchet MS"/>
                <a:cs typeface="Trebuchet MS"/>
              </a:rPr>
              <a:t>201</a:t>
            </a:r>
            <a:r>
              <a:rPr lang="en-US" sz="900">
                <a:solidFill>
                  <a:srgbClr val="595959">
                    <a:lumMod val="75000"/>
                  </a:srgbClr>
                </a:solidFill>
                <a:latin typeface="Trebuchet MS"/>
                <a:cs typeface="Trebuchet MS"/>
              </a:rPr>
              <a:t>5 ExlService Holdings, Inc.</a:t>
            </a:r>
          </a:p>
        </p:txBody>
      </p:sp>
    </p:spTree>
    <p:extLst>
      <p:ext uri="{BB962C8B-B14F-4D97-AF65-F5344CB8AC3E}">
        <p14:creationId xmlns:p14="http://schemas.microsoft.com/office/powerpoint/2010/main" val="1892983099"/>
      </p:ext>
    </p:extLst>
  </p:cSld>
  <p:clrMapOvr>
    <a:masterClrMapping/>
  </p:clrMapOvr>
  <p:transition spd="slow">
    <p:split orient="vert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9792" y="32952"/>
            <a:ext cx="12746652" cy="896466"/>
          </a:xfrm>
        </p:spPr>
        <p:txBody>
          <a:bodyPr/>
          <a:lstStyle>
            <a:lvl1pPr algn="l">
              <a:defRPr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99794" y="1100453"/>
            <a:ext cx="12716418" cy="1947549"/>
          </a:xfrm>
        </p:spPr>
        <p:txBody>
          <a:bodyPr/>
          <a:lstStyle>
            <a:lvl2pPr>
              <a:defRPr>
                <a:solidFill>
                  <a:schemeClr val="tx1">
                    <a:lumMod val="7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0" y="896466"/>
            <a:ext cx="13716000" cy="0"/>
          </a:xfrm>
          <a:prstGeom prst="line">
            <a:avLst/>
          </a:prstGeom>
          <a:ln w="6350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able Placeholder 10"/>
          <p:cNvSpPr>
            <a:spLocks noGrp="1"/>
          </p:cNvSpPr>
          <p:nvPr>
            <p:ph type="tbl" sz="quarter" idx="11"/>
          </p:nvPr>
        </p:nvSpPr>
        <p:spPr>
          <a:xfrm>
            <a:off x="499797" y="3212766"/>
            <a:ext cx="12716416" cy="2545491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3686142992"/>
      </p:ext>
    </p:extLst>
  </p:cSld>
  <p:clrMapOvr>
    <a:masterClrMapping/>
  </p:clrMapOvr>
  <p:transition spd="slow">
    <p:split orient="vert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R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3" y="32952"/>
            <a:ext cx="12733638" cy="896466"/>
          </a:xfrm>
        </p:spPr>
        <p:txBody>
          <a:bodyPr/>
          <a:lstStyle>
            <a:lvl1pPr algn="l">
              <a:defRPr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85802" y="4244142"/>
            <a:ext cx="12716418" cy="1947549"/>
          </a:xfrm>
        </p:spPr>
        <p:txBody>
          <a:bodyPr/>
          <a:lstStyle>
            <a:lvl2pPr>
              <a:defRPr>
                <a:solidFill>
                  <a:schemeClr val="tx1">
                    <a:lumMod val="7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0" y="896466"/>
            <a:ext cx="13716000" cy="0"/>
          </a:xfrm>
          <a:prstGeom prst="line">
            <a:avLst/>
          </a:prstGeom>
          <a:ln w="6350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Chart Placeholder 7"/>
          <p:cNvSpPr>
            <a:spLocks noGrp="1"/>
          </p:cNvSpPr>
          <p:nvPr>
            <p:ph type="chart" sz="quarter" idx="11"/>
          </p:nvPr>
        </p:nvSpPr>
        <p:spPr>
          <a:xfrm>
            <a:off x="685804" y="1126065"/>
            <a:ext cx="12716691" cy="2958859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917351363"/>
      </p:ext>
    </p:extLst>
  </p:cSld>
  <p:clrMapOvr>
    <a:masterClrMapping/>
  </p:clrMapOvr>
  <p:transition spd="slow">
    <p:split orient="vert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781" y="32952"/>
            <a:ext cx="12754593" cy="896466"/>
          </a:xfrm>
        </p:spPr>
        <p:txBody>
          <a:bodyPr/>
          <a:lstStyle>
            <a:lvl1pPr algn="l">
              <a:defRPr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4785" y="1126064"/>
            <a:ext cx="5976257" cy="5440207"/>
          </a:xfrm>
        </p:spPr>
        <p:txBody>
          <a:bodyPr/>
          <a:lstStyle>
            <a:lvl2pPr>
              <a:defRPr>
                <a:solidFill>
                  <a:schemeClr val="tx1">
                    <a:lumMod val="7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0" y="896466"/>
            <a:ext cx="13716000" cy="0"/>
          </a:xfrm>
          <a:prstGeom prst="line">
            <a:avLst/>
          </a:prstGeom>
          <a:ln w="6350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Chart Placeholder 7"/>
          <p:cNvSpPr>
            <a:spLocks noGrp="1"/>
          </p:cNvSpPr>
          <p:nvPr>
            <p:ph type="chart" sz="quarter" idx="11"/>
          </p:nvPr>
        </p:nvSpPr>
        <p:spPr>
          <a:xfrm>
            <a:off x="6491715" y="1126064"/>
            <a:ext cx="6679758" cy="3846539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1035801086"/>
      </p:ext>
    </p:extLst>
  </p:cSld>
  <p:clrMapOvr>
    <a:masterClrMapping/>
  </p:clrMapOvr>
  <p:transition spd="slow">
    <p:split orient="vert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2934" y="301758"/>
            <a:ext cx="12706350" cy="76944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589788" y="1152144"/>
            <a:ext cx="12701016" cy="402336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  <a:lvl2pPr marL="342899" indent="0">
              <a:buNone/>
              <a:defRPr/>
            </a:lvl2pPr>
            <a:lvl3pPr marL="685799" indent="0">
              <a:buNone/>
              <a:defRPr/>
            </a:lvl3pPr>
            <a:lvl4pPr marL="1028700" indent="0">
              <a:buNone/>
              <a:defRPr/>
            </a:lvl4pPr>
            <a:lvl5pPr marL="137636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375404" y="6309360"/>
            <a:ext cx="7886700" cy="402336"/>
          </a:xfrm>
        </p:spPr>
        <p:txBody>
          <a:bodyPr/>
          <a:lstStyle>
            <a:lvl1pPr marL="0" marR="0" indent="0" algn="l" defTabSz="91440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  <a:defRPr sz="900"/>
            </a:lvl1pPr>
          </a:lstStyle>
          <a:p>
            <a:pPr marL="0" marR="0" lvl="0" indent="0" algn="l" defTabSz="914401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lang="en-US"/>
              <a:t>Type source and footnotes here</a:t>
            </a:r>
          </a:p>
          <a:p>
            <a:pPr lvl="0"/>
            <a:endParaRPr lang="en-US"/>
          </a:p>
        </p:txBody>
      </p:sp>
      <p:sp>
        <p:nvSpPr>
          <p:cNvPr id="24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2573007" y="6475929"/>
            <a:ext cx="497681" cy="230832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3CBB68-2FEB-4380-92F2-019D3F832D24}" type="slidenum">
              <a:rPr lang="en-US">
                <a:solidFill>
                  <a:srgbClr val="474747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4747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8106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2934" y="301758"/>
            <a:ext cx="1270635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3CBB68-2FEB-4380-92F2-019D3F832D24}" type="slidenum">
              <a:rPr lang="en-US">
                <a:solidFill>
                  <a:srgbClr val="474747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474747"/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375404" y="6309360"/>
            <a:ext cx="7886700" cy="40233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Type source and footnotes here</a:t>
            </a:r>
          </a:p>
        </p:txBody>
      </p:sp>
    </p:spTree>
    <p:extLst>
      <p:ext uri="{BB962C8B-B14F-4D97-AF65-F5344CB8AC3E}">
        <p14:creationId xmlns:p14="http://schemas.microsoft.com/office/powerpoint/2010/main" val="12650423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619980A-B1E7-47B0-A533-8276885B9457}" type="slidenum">
              <a:rPr lang="en-US" smtClean="0">
                <a:solidFill>
                  <a:srgbClr val="474747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4747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40187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619980A-B1E7-47B0-A533-8276885B9457}" type="slidenum">
              <a:rPr lang="en-US" smtClean="0">
                <a:solidFill>
                  <a:srgbClr val="474747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4747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90742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386" y="1599"/>
          <a:ext cx="23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2386" y="1599"/>
                        <a:ext cx="238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F58DB1-0105-40FE-A715-F9F71C258F28}" type="slidenum">
              <a:rPr lang="en-US" smtClean="0">
                <a:solidFill>
                  <a:srgbClr val="474747"/>
                </a:solidFill>
              </a:rPr>
              <a:pPr/>
              <a:t>‹#›</a:t>
            </a:fld>
            <a:endParaRPr lang="en-US">
              <a:solidFill>
                <a:srgbClr val="474747"/>
              </a:solidFill>
            </a:endParaRP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342907" y="152400"/>
            <a:ext cx="12903994" cy="400110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319095" y="990608"/>
            <a:ext cx="12939713" cy="276999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lang="en-US" sz="1200" i="1" baseline="0" dirty="0" smtClean="0">
                <a:solidFill>
                  <a:srgbClr val="0768A9"/>
                </a:solidFill>
                <a:latin typeface="+mn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buNone/>
              <a:defRPr lang="en-US" sz="1100" i="1" dirty="0" smtClean="0">
                <a:solidFill>
                  <a:srgbClr val="FFFFFF">
                    <a:lumMod val="50000"/>
                  </a:srgbClr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Object Title</a:t>
            </a:r>
          </a:p>
        </p:txBody>
      </p:sp>
      <p:sp>
        <p:nvSpPr>
          <p:cNvPr id="25" name="Footer Placeholder 24"/>
          <p:cNvSpPr>
            <a:spLocks noGrp="1"/>
          </p:cNvSpPr>
          <p:nvPr>
            <p:ph type="ftr" sz="quarter" idx="13"/>
          </p:nvPr>
        </p:nvSpPr>
        <p:spPr>
          <a:xfrm>
            <a:off x="4686300" y="6423496"/>
            <a:ext cx="4343400" cy="230832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474747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228600" y="1752600"/>
            <a:ext cx="2628900" cy="1143000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 marL="1028700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228600" y="3124200"/>
            <a:ext cx="2628900" cy="1143000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 marL="1028700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228600" y="4572000"/>
            <a:ext cx="2628900" cy="1143000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 marL="1028700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Text Placeholder 18"/>
          <p:cNvSpPr>
            <a:spLocks noGrp="1"/>
          </p:cNvSpPr>
          <p:nvPr>
            <p:ph type="body" sz="quarter" idx="26" hasCustomPrompt="1"/>
          </p:nvPr>
        </p:nvSpPr>
        <p:spPr>
          <a:xfrm>
            <a:off x="2857500" y="1447808"/>
            <a:ext cx="2538414" cy="276999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lang="en-US" sz="1200" i="1" baseline="0" dirty="0" smtClean="0">
                <a:solidFill>
                  <a:srgbClr val="0768A9"/>
                </a:solidFill>
                <a:latin typeface="+mn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buNone/>
              <a:defRPr lang="en-US" sz="1100" i="1" dirty="0" smtClean="0">
                <a:solidFill>
                  <a:srgbClr val="FFFFFF">
                    <a:lumMod val="50000"/>
                  </a:srgbClr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Column Title</a:t>
            </a:r>
          </a:p>
        </p:txBody>
      </p:sp>
      <p:sp>
        <p:nvSpPr>
          <p:cNvPr id="28" name="Text Placeholder 18"/>
          <p:cNvSpPr>
            <a:spLocks noGrp="1"/>
          </p:cNvSpPr>
          <p:nvPr>
            <p:ph type="body" sz="quarter" idx="27" hasCustomPrompt="1"/>
          </p:nvPr>
        </p:nvSpPr>
        <p:spPr>
          <a:xfrm>
            <a:off x="6457950" y="1447808"/>
            <a:ext cx="2538414" cy="276999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lang="en-US" sz="1200" i="1" baseline="0" dirty="0" smtClean="0">
                <a:solidFill>
                  <a:srgbClr val="0768A9"/>
                </a:solidFill>
                <a:latin typeface="+mn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buNone/>
              <a:defRPr lang="en-US" sz="1100" i="1" dirty="0" smtClean="0">
                <a:solidFill>
                  <a:srgbClr val="FFFFFF">
                    <a:lumMod val="50000"/>
                  </a:srgbClr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Column Title</a:t>
            </a:r>
          </a:p>
        </p:txBody>
      </p:sp>
      <p:sp>
        <p:nvSpPr>
          <p:cNvPr id="32" name="Text Placeholder 18"/>
          <p:cNvSpPr>
            <a:spLocks noGrp="1"/>
          </p:cNvSpPr>
          <p:nvPr>
            <p:ph type="body" sz="quarter" idx="28" hasCustomPrompt="1"/>
          </p:nvPr>
        </p:nvSpPr>
        <p:spPr>
          <a:xfrm>
            <a:off x="10058400" y="1447808"/>
            <a:ext cx="2538414" cy="276999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lang="en-US" sz="1200" i="1" baseline="0" dirty="0" smtClean="0">
                <a:solidFill>
                  <a:srgbClr val="0768A9"/>
                </a:solidFill>
                <a:latin typeface="+mn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buNone/>
              <a:defRPr lang="en-US" sz="1100" i="1" dirty="0" smtClean="0">
                <a:solidFill>
                  <a:srgbClr val="FFFFFF">
                    <a:lumMod val="50000"/>
                  </a:srgbClr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Column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9"/>
          </p:nvPr>
        </p:nvSpPr>
        <p:spPr>
          <a:xfrm>
            <a:off x="2857500" y="3124202"/>
            <a:ext cx="3429000" cy="106952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100" smtClean="0"/>
            </a:lvl1pPr>
            <a:lvl2pPr>
              <a:defRPr lang="en-US" sz="1050" smtClean="0"/>
            </a:lvl2pPr>
            <a:lvl3pPr>
              <a:defRPr lang="en-US" sz="1050" smtClean="0"/>
            </a:lvl3pPr>
            <a:lvl4pPr>
              <a:defRPr lang="en-US" sz="1050" smtClean="0"/>
            </a:lvl4pPr>
            <a:lvl5pPr>
              <a:defRPr lang="en-US"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30"/>
          </p:nvPr>
        </p:nvSpPr>
        <p:spPr>
          <a:xfrm>
            <a:off x="6461311" y="3124202"/>
            <a:ext cx="3429000" cy="106952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100" smtClean="0"/>
            </a:lvl1pPr>
            <a:lvl2pPr>
              <a:defRPr lang="en-US" sz="1050" smtClean="0"/>
            </a:lvl2pPr>
            <a:lvl3pPr>
              <a:defRPr lang="en-US" sz="1050" smtClean="0"/>
            </a:lvl3pPr>
            <a:lvl4pPr>
              <a:defRPr lang="en-US" sz="1050" smtClean="0"/>
            </a:lvl4pPr>
            <a:lvl5pPr>
              <a:defRPr lang="en-US"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31"/>
          </p:nvPr>
        </p:nvSpPr>
        <p:spPr>
          <a:xfrm>
            <a:off x="10058400" y="3124202"/>
            <a:ext cx="3429000" cy="106952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100" smtClean="0"/>
            </a:lvl1pPr>
            <a:lvl2pPr>
              <a:defRPr lang="en-US" sz="1050" smtClean="0"/>
            </a:lvl2pPr>
            <a:lvl3pPr>
              <a:defRPr lang="en-US" sz="1050" smtClean="0"/>
            </a:lvl3pPr>
            <a:lvl4pPr>
              <a:defRPr lang="en-US" sz="1050" smtClean="0"/>
            </a:lvl4pPr>
            <a:lvl5pPr>
              <a:defRPr lang="en-US"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32"/>
          </p:nvPr>
        </p:nvSpPr>
        <p:spPr>
          <a:xfrm>
            <a:off x="2857500" y="1752604"/>
            <a:ext cx="3429000" cy="106952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100" smtClean="0"/>
            </a:lvl1pPr>
            <a:lvl2pPr>
              <a:defRPr lang="en-US" sz="1050" smtClean="0"/>
            </a:lvl2pPr>
            <a:lvl3pPr>
              <a:defRPr lang="en-US" sz="1050" smtClean="0"/>
            </a:lvl3pPr>
            <a:lvl4pPr>
              <a:defRPr lang="en-US" sz="1050" smtClean="0"/>
            </a:lvl4pPr>
            <a:lvl5pPr>
              <a:defRPr lang="en-US"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33"/>
          </p:nvPr>
        </p:nvSpPr>
        <p:spPr>
          <a:xfrm>
            <a:off x="6461311" y="1752604"/>
            <a:ext cx="3429000" cy="106952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100" smtClean="0"/>
            </a:lvl1pPr>
            <a:lvl2pPr>
              <a:defRPr lang="en-US" sz="1050" smtClean="0"/>
            </a:lvl2pPr>
            <a:lvl3pPr>
              <a:defRPr lang="en-US" sz="1050" smtClean="0"/>
            </a:lvl3pPr>
            <a:lvl4pPr>
              <a:defRPr lang="en-US" sz="1050" smtClean="0"/>
            </a:lvl4pPr>
            <a:lvl5pPr>
              <a:defRPr lang="en-US"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7" name="Text Placeholder 7"/>
          <p:cNvSpPr>
            <a:spLocks noGrp="1"/>
          </p:cNvSpPr>
          <p:nvPr>
            <p:ph type="body" sz="quarter" idx="34"/>
          </p:nvPr>
        </p:nvSpPr>
        <p:spPr>
          <a:xfrm>
            <a:off x="10058400" y="1752604"/>
            <a:ext cx="3429000" cy="106952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100" smtClean="0"/>
            </a:lvl1pPr>
            <a:lvl2pPr>
              <a:defRPr lang="en-US" sz="1050" smtClean="0"/>
            </a:lvl2pPr>
            <a:lvl3pPr>
              <a:defRPr lang="en-US" sz="1050" smtClean="0"/>
            </a:lvl3pPr>
            <a:lvl4pPr>
              <a:defRPr lang="en-US" sz="1050" smtClean="0"/>
            </a:lvl4pPr>
            <a:lvl5pPr>
              <a:defRPr lang="en-US"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Text Placeholder 7"/>
          <p:cNvSpPr>
            <a:spLocks noGrp="1"/>
          </p:cNvSpPr>
          <p:nvPr>
            <p:ph type="body" sz="quarter" idx="35"/>
          </p:nvPr>
        </p:nvSpPr>
        <p:spPr>
          <a:xfrm>
            <a:off x="2857500" y="4572004"/>
            <a:ext cx="3429000" cy="106952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100" smtClean="0"/>
            </a:lvl1pPr>
            <a:lvl2pPr>
              <a:defRPr lang="en-US" sz="1050" smtClean="0"/>
            </a:lvl2pPr>
            <a:lvl3pPr>
              <a:defRPr lang="en-US" sz="1050" smtClean="0"/>
            </a:lvl3pPr>
            <a:lvl4pPr>
              <a:defRPr lang="en-US" sz="1050" smtClean="0"/>
            </a:lvl4pPr>
            <a:lvl5pPr>
              <a:defRPr lang="en-US"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9" name="Text Placeholder 7"/>
          <p:cNvSpPr>
            <a:spLocks noGrp="1"/>
          </p:cNvSpPr>
          <p:nvPr>
            <p:ph type="body" sz="quarter" idx="36"/>
          </p:nvPr>
        </p:nvSpPr>
        <p:spPr>
          <a:xfrm>
            <a:off x="6461311" y="4572004"/>
            <a:ext cx="3429000" cy="106952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100" smtClean="0"/>
            </a:lvl1pPr>
            <a:lvl2pPr>
              <a:defRPr lang="en-US" sz="1050" smtClean="0"/>
            </a:lvl2pPr>
            <a:lvl3pPr>
              <a:defRPr lang="en-US" sz="1050" smtClean="0"/>
            </a:lvl3pPr>
            <a:lvl4pPr>
              <a:defRPr lang="en-US" sz="1050" smtClean="0"/>
            </a:lvl4pPr>
            <a:lvl5pPr>
              <a:defRPr lang="en-US"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0" name="Text Placeholder 7"/>
          <p:cNvSpPr>
            <a:spLocks noGrp="1"/>
          </p:cNvSpPr>
          <p:nvPr>
            <p:ph type="body" sz="quarter" idx="37"/>
          </p:nvPr>
        </p:nvSpPr>
        <p:spPr>
          <a:xfrm>
            <a:off x="10058400" y="4572004"/>
            <a:ext cx="3429000" cy="106952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100" smtClean="0"/>
            </a:lvl1pPr>
            <a:lvl2pPr>
              <a:defRPr lang="en-US" sz="1050" smtClean="0"/>
            </a:lvl2pPr>
            <a:lvl3pPr>
              <a:defRPr lang="en-US" sz="1050" smtClean="0"/>
            </a:lvl3pPr>
            <a:lvl4pPr>
              <a:defRPr lang="en-US" sz="1050" smtClean="0"/>
            </a:lvl4pPr>
            <a:lvl5pPr>
              <a:defRPr lang="en-US"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024746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592934" y="301758"/>
            <a:ext cx="12706350" cy="307777"/>
          </a:xfrm>
        </p:spPr>
        <p:txBody>
          <a:bodyPr lIns="0" tIns="0" rIns="0" bIns="0"/>
          <a:lstStyle>
            <a:lvl1pPr>
              <a:defRPr sz="2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74674" y="1190372"/>
            <a:ext cx="12376785" cy="3415029"/>
          </a:xfrm>
          <a:prstGeom prst="rect">
            <a:avLst/>
          </a:prstGeo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85800" y="6377940"/>
            <a:ext cx="3154680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13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8859511" y="6383596"/>
            <a:ext cx="746522" cy="415498"/>
          </a:xfrm>
        </p:spPr>
        <p:txBody>
          <a:bodyPr lIns="0" tIns="0" rIns="0" bIns="0"/>
          <a:lstStyle>
            <a:lvl1pPr>
              <a:defRPr sz="900" b="0" i="0">
                <a:solidFill>
                  <a:srgbClr val="094D80"/>
                </a:solidFill>
                <a:latin typeface="Arial MT"/>
                <a:cs typeface="Arial MT"/>
              </a:defRPr>
            </a:lvl1pPr>
          </a:lstStyle>
          <a:p>
            <a:pPr marL="38100">
              <a:spcBef>
                <a:spcPts val="145"/>
              </a:spcBef>
              <a:tabLst>
                <a:tab pos="287020" algn="l"/>
              </a:tabLst>
            </a:pPr>
            <a:fld id="{81D60167-4931-47E6-BA6A-407CBD079E47}" type="slidenum">
              <a:rPr lang="en-US" b="1" spc="-5" smtClean="0">
                <a:latin typeface="Arial"/>
                <a:cs typeface="Arial"/>
              </a:rPr>
              <a:pPr marL="38100">
                <a:spcBef>
                  <a:spcPts val="145"/>
                </a:spcBef>
                <a:tabLst>
                  <a:tab pos="287020" algn="l"/>
                </a:tabLst>
              </a:pPr>
              <a:t>‹#›</a:t>
            </a:fld>
            <a:r>
              <a:rPr lang="en-US" b="1" spc="-5">
                <a:latin typeface="Arial"/>
                <a:cs typeface="Arial"/>
              </a:rPr>
              <a:t>	</a:t>
            </a:r>
            <a:r>
              <a:rPr lang="en-US" sz="1350" baseline="9259">
                <a:solidFill>
                  <a:srgbClr val="415363"/>
                </a:solidFill>
              </a:rPr>
              <a:t>|</a:t>
            </a:r>
            <a:r>
              <a:rPr lang="en-US" sz="1350" spc="172" baseline="9259">
                <a:solidFill>
                  <a:srgbClr val="415363"/>
                </a:solidFill>
              </a:rPr>
              <a:t> </a:t>
            </a:r>
            <a:r>
              <a:rPr lang="en-US" spc="-5"/>
              <a:t>DevOps Handbook</a:t>
            </a:r>
            <a:endParaRPr lang="en-US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905786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14500" y="1122363"/>
            <a:ext cx="10287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14500" y="3602038"/>
            <a:ext cx="10287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CB695A-B38D-404F-8A51-C20ED0749767}" type="datetimeFigureOut">
              <a:rPr lang="en-IN" smtClean="0"/>
              <a:t>13-04-2022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5801AD-2E18-4EEA-AD2C-27DAF8E82B1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9956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image" Target="../media/image3.jpeg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2386" y="1596"/>
          <a:ext cx="23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386" y="1596"/>
                        <a:ext cx="238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592934" y="301758"/>
            <a:ext cx="12706350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592934" y="1371600"/>
            <a:ext cx="12780168" cy="1409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2573007" y="6475929"/>
            <a:ext cx="497681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defRPr sz="9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619980A-B1E7-47B0-A533-8276885B9457}" type="slidenum">
              <a:rPr lang="en-US" smtClean="0">
                <a:solidFill>
                  <a:srgbClr val="474747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474747"/>
              </a:solidFill>
            </a:endParaRPr>
          </a:p>
        </p:txBody>
      </p:sp>
      <p:sp>
        <p:nvSpPr>
          <p:cNvPr id="8" name="Content Placeholder 10"/>
          <p:cNvSpPr txBox="1">
            <a:spLocks/>
          </p:cNvSpPr>
          <p:nvPr/>
        </p:nvSpPr>
        <p:spPr>
          <a:xfrm>
            <a:off x="4375404" y="6309360"/>
            <a:ext cx="7886700" cy="402336"/>
          </a:xfrm>
          <a:prstGeom prst="rect">
            <a:avLst/>
          </a:prstGeom>
        </p:spPr>
        <p:txBody>
          <a:bodyPr/>
          <a:lstStyle>
            <a:lvl1pPr marL="0" indent="0" algn="l" rtl="0" fontAlgn="base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defRPr sz="1000">
                <a:solidFill>
                  <a:srgbClr val="474747"/>
                </a:solidFill>
                <a:latin typeface="+mn-lt"/>
                <a:ea typeface="+mn-ea"/>
                <a:cs typeface="+mn-cs"/>
              </a:defRPr>
            </a:lvl1pPr>
            <a:lvl2pPr marL="342900" indent="0" algn="l" rtl="0" fontAlgn="base">
              <a:spcBef>
                <a:spcPct val="25000"/>
              </a:spcBef>
              <a:spcAft>
                <a:spcPct val="0"/>
              </a:spcAft>
              <a:buClr>
                <a:schemeClr val="accent1"/>
              </a:buClr>
              <a:buNone/>
              <a:defRPr sz="1000">
                <a:solidFill>
                  <a:srgbClr val="474747"/>
                </a:solidFill>
                <a:latin typeface="+mn-lt"/>
              </a:defRPr>
            </a:lvl2pPr>
            <a:lvl3pPr marL="685800" indent="0" algn="l" rtl="0" fontAlgn="base">
              <a:spcBef>
                <a:spcPct val="25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defRPr sz="1000">
                <a:solidFill>
                  <a:srgbClr val="474747"/>
                </a:solidFill>
                <a:latin typeface="+mn-lt"/>
              </a:defRPr>
            </a:lvl3pPr>
            <a:lvl4pPr marL="1028700" indent="0" algn="l" rtl="0" fontAlgn="base">
              <a:spcBef>
                <a:spcPct val="25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000">
                <a:solidFill>
                  <a:srgbClr val="474747"/>
                </a:solidFill>
                <a:latin typeface="+mn-lt"/>
              </a:defRPr>
            </a:lvl4pPr>
            <a:lvl5pPr marL="1376362" indent="0" algn="l" rtl="0" fontAlgn="base">
              <a:spcBef>
                <a:spcPct val="25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defRPr sz="1000">
                <a:solidFill>
                  <a:srgbClr val="474747"/>
                </a:solidFill>
                <a:latin typeface="+mn-lt"/>
              </a:defRPr>
            </a:lvl5pPr>
            <a:lvl6pPr marL="2057400" indent="-223838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Char char="n"/>
              <a:defRPr sz="1400">
                <a:solidFill>
                  <a:srgbClr val="474747"/>
                </a:solidFill>
                <a:latin typeface="+mn-lt"/>
              </a:defRPr>
            </a:lvl6pPr>
            <a:lvl7pPr marL="2514600" indent="-223838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Char char="n"/>
              <a:defRPr sz="1400">
                <a:solidFill>
                  <a:srgbClr val="474747"/>
                </a:solidFill>
                <a:latin typeface="+mn-lt"/>
              </a:defRPr>
            </a:lvl7pPr>
            <a:lvl8pPr marL="2971800" indent="-223838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Char char="n"/>
              <a:defRPr sz="1400">
                <a:solidFill>
                  <a:srgbClr val="474747"/>
                </a:solidFill>
                <a:latin typeface="+mn-lt"/>
              </a:defRPr>
            </a:lvl8pPr>
            <a:lvl9pPr marL="3429000" indent="-223838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Char char="n"/>
              <a:defRPr sz="1400">
                <a:solidFill>
                  <a:srgbClr val="474747"/>
                </a:solidFill>
                <a:latin typeface="+mn-lt"/>
              </a:defRPr>
            </a:lvl9pPr>
          </a:lstStyle>
          <a:p>
            <a:pPr>
              <a:buClr>
                <a:srgbClr val="0768A9"/>
              </a:buClr>
            </a:pPr>
            <a:endParaRPr lang="en-US" sz="1000" kern="0"/>
          </a:p>
        </p:txBody>
      </p:sp>
    </p:spTree>
    <p:extLst>
      <p:ext uri="{BB962C8B-B14F-4D97-AF65-F5344CB8AC3E}">
        <p14:creationId xmlns:p14="http://schemas.microsoft.com/office/powerpoint/2010/main" val="536763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709" r:id="rId5"/>
    <p:sldLayoutId id="2147483677" r:id="rId6"/>
    <p:sldLayoutId id="2147483681" r:id="rId7"/>
    <p:sldLayoutId id="2147483722" r:id="rId8"/>
  </p:sldLayoutIdLst>
  <p:hf hdr="0"/>
  <p:txStyles>
    <p:titleStyle>
      <a:lvl1pPr algn="l" rtl="0" eaLnBrk="1" fontAlgn="base" hangingPunct="1">
        <a:spcBef>
          <a:spcPct val="30000"/>
        </a:spcBef>
        <a:spcAft>
          <a:spcPct val="0"/>
        </a:spcAft>
        <a:defRPr sz="2200">
          <a:solidFill>
            <a:srgbClr val="0081C6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30000"/>
        </a:spcBef>
        <a:spcAft>
          <a:spcPct val="0"/>
        </a:spcAft>
        <a:defRPr sz="2800">
          <a:solidFill>
            <a:schemeClr val="tx1"/>
          </a:solidFill>
          <a:latin typeface="Trebuchet MS" pitchFamily="34" charset="0"/>
        </a:defRPr>
      </a:lvl2pPr>
      <a:lvl3pPr algn="l" rtl="0" eaLnBrk="1" fontAlgn="base" hangingPunct="1">
        <a:spcBef>
          <a:spcPct val="30000"/>
        </a:spcBef>
        <a:spcAft>
          <a:spcPct val="0"/>
        </a:spcAft>
        <a:defRPr sz="2800">
          <a:solidFill>
            <a:schemeClr val="tx1"/>
          </a:solidFill>
          <a:latin typeface="Trebuchet MS" pitchFamily="34" charset="0"/>
        </a:defRPr>
      </a:lvl3pPr>
      <a:lvl4pPr algn="l" rtl="0" eaLnBrk="1" fontAlgn="base" hangingPunct="1">
        <a:spcBef>
          <a:spcPct val="30000"/>
        </a:spcBef>
        <a:spcAft>
          <a:spcPct val="0"/>
        </a:spcAft>
        <a:defRPr sz="2800">
          <a:solidFill>
            <a:schemeClr val="tx1"/>
          </a:solidFill>
          <a:latin typeface="Trebuchet MS" pitchFamily="34" charset="0"/>
        </a:defRPr>
      </a:lvl4pPr>
      <a:lvl5pPr algn="l" rtl="0" eaLnBrk="1" fontAlgn="base" hangingPunct="1">
        <a:spcBef>
          <a:spcPct val="30000"/>
        </a:spcBef>
        <a:spcAft>
          <a:spcPct val="0"/>
        </a:spcAft>
        <a:defRPr sz="2800">
          <a:solidFill>
            <a:schemeClr val="tx1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30000"/>
        </a:spcBef>
        <a:spcAft>
          <a:spcPct val="0"/>
        </a:spcAft>
        <a:defRPr sz="2800">
          <a:solidFill>
            <a:schemeClr val="tx1"/>
          </a:solidFill>
          <a:latin typeface="Trebuchet MS" pitchFamily="34" charset="0"/>
        </a:defRPr>
      </a:lvl6pPr>
      <a:lvl7pPr marL="914401" algn="l" rtl="0" eaLnBrk="1" fontAlgn="base" hangingPunct="1">
        <a:spcBef>
          <a:spcPct val="30000"/>
        </a:spcBef>
        <a:spcAft>
          <a:spcPct val="0"/>
        </a:spcAft>
        <a:defRPr sz="2800">
          <a:solidFill>
            <a:schemeClr val="tx1"/>
          </a:solidFill>
          <a:latin typeface="Trebuchet MS" pitchFamily="34" charset="0"/>
        </a:defRPr>
      </a:lvl7pPr>
      <a:lvl8pPr marL="1371600" algn="l" rtl="0" eaLnBrk="1" fontAlgn="base" hangingPunct="1">
        <a:spcBef>
          <a:spcPct val="30000"/>
        </a:spcBef>
        <a:spcAft>
          <a:spcPct val="0"/>
        </a:spcAft>
        <a:defRPr sz="2800">
          <a:solidFill>
            <a:schemeClr val="tx1"/>
          </a:solidFill>
          <a:latin typeface="Trebuchet MS" pitchFamily="34" charset="0"/>
        </a:defRPr>
      </a:lvl8pPr>
      <a:lvl9pPr marL="1828799" algn="l" rtl="0" eaLnBrk="1" fontAlgn="base" hangingPunct="1">
        <a:spcBef>
          <a:spcPct val="30000"/>
        </a:spcBef>
        <a:spcAft>
          <a:spcPct val="0"/>
        </a:spcAft>
        <a:defRPr sz="2800">
          <a:solidFill>
            <a:schemeClr val="tx1"/>
          </a:solidFill>
          <a:latin typeface="Trebuchet MS" pitchFamily="34" charset="0"/>
        </a:defRPr>
      </a:lvl9pPr>
    </p:titleStyle>
    <p:bodyStyle>
      <a:lvl1pPr marL="228599" indent="-228599" algn="l" rtl="0" eaLnBrk="1" fontAlgn="base" hangingPunct="1">
        <a:spcBef>
          <a:spcPct val="50000"/>
        </a:spcBef>
        <a:spcAft>
          <a:spcPct val="0"/>
        </a:spcAft>
        <a:buClr>
          <a:srgbClr val="0081C6"/>
        </a:buClr>
        <a:buSzPct val="80000"/>
        <a:buFont typeface="Wingdings" panose="05000000000000000000" pitchFamily="2" charset="2"/>
        <a:buChar char="n"/>
        <a:defRPr sz="1400">
          <a:solidFill>
            <a:srgbClr val="474747"/>
          </a:solidFill>
          <a:latin typeface="+mn-lt"/>
          <a:ea typeface="+mn-ea"/>
          <a:cs typeface="+mn-cs"/>
        </a:defRPr>
      </a:lvl1pPr>
      <a:lvl2pPr marL="571501" indent="-228599" algn="l" rtl="0" eaLnBrk="1" fontAlgn="base" hangingPunct="1">
        <a:spcBef>
          <a:spcPct val="25000"/>
        </a:spcBef>
        <a:spcAft>
          <a:spcPct val="0"/>
        </a:spcAft>
        <a:buClr>
          <a:srgbClr val="0081C6"/>
        </a:buClr>
        <a:buFont typeface="Trebuchet MS" panose="020B0603020202020204" pitchFamily="34" charset="0"/>
        <a:buChar char="―"/>
        <a:defRPr sz="1400">
          <a:solidFill>
            <a:srgbClr val="474747"/>
          </a:solidFill>
          <a:latin typeface="+mn-lt"/>
        </a:defRPr>
      </a:lvl2pPr>
      <a:lvl3pPr marL="914401" indent="-228599" algn="l" rtl="0" eaLnBrk="1" fontAlgn="base" hangingPunct="1">
        <a:spcBef>
          <a:spcPct val="25000"/>
        </a:spcBef>
        <a:spcAft>
          <a:spcPct val="0"/>
        </a:spcAft>
        <a:buClr>
          <a:srgbClr val="0081C6"/>
        </a:buClr>
        <a:buSzPct val="80000"/>
        <a:buFont typeface="Arial" panose="020B0604020202020204" pitchFamily="34" charset="0"/>
        <a:buChar char="•"/>
        <a:defRPr sz="1400">
          <a:solidFill>
            <a:srgbClr val="474747"/>
          </a:solidFill>
          <a:latin typeface="+mn-lt"/>
        </a:defRPr>
      </a:lvl3pPr>
      <a:lvl4pPr marL="1262063" indent="-233363" algn="l" rtl="0" eaLnBrk="1" fontAlgn="base" hangingPunct="1">
        <a:spcBef>
          <a:spcPct val="2500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"/>
        <a:defRPr sz="1400">
          <a:solidFill>
            <a:srgbClr val="474747"/>
          </a:solidFill>
          <a:latin typeface="+mn-lt"/>
        </a:defRPr>
      </a:lvl4pPr>
      <a:lvl5pPr marL="1600200" indent="-223838" algn="l" rtl="0" eaLnBrk="1" fontAlgn="base" hangingPunct="1">
        <a:spcBef>
          <a:spcPct val="25000"/>
        </a:spcBef>
        <a:spcAft>
          <a:spcPct val="0"/>
        </a:spcAft>
        <a:buClr>
          <a:schemeClr val="accent1"/>
        </a:buClr>
        <a:buSzPct val="80000"/>
        <a:buFont typeface="Wingdings" pitchFamily="2" charset="2"/>
        <a:buChar char="n"/>
        <a:defRPr sz="1400">
          <a:solidFill>
            <a:srgbClr val="474747"/>
          </a:solidFill>
          <a:latin typeface="+mn-lt"/>
        </a:defRPr>
      </a:lvl5pPr>
      <a:lvl6pPr marL="2057401" indent="-223838" algn="l" rtl="0" eaLnBrk="1" fontAlgn="base" hangingPunct="1">
        <a:spcBef>
          <a:spcPct val="25000"/>
        </a:spcBef>
        <a:spcAft>
          <a:spcPct val="0"/>
        </a:spcAft>
        <a:buClr>
          <a:schemeClr val="accent1"/>
        </a:buClr>
        <a:buSzPct val="80000"/>
        <a:buFont typeface="Wingdings" pitchFamily="2" charset="2"/>
        <a:buChar char="n"/>
        <a:defRPr sz="1400">
          <a:solidFill>
            <a:srgbClr val="474747"/>
          </a:solidFill>
          <a:latin typeface="+mn-lt"/>
        </a:defRPr>
      </a:lvl6pPr>
      <a:lvl7pPr marL="2514600" indent="-223838" algn="l" rtl="0" eaLnBrk="1" fontAlgn="base" hangingPunct="1">
        <a:spcBef>
          <a:spcPct val="25000"/>
        </a:spcBef>
        <a:spcAft>
          <a:spcPct val="0"/>
        </a:spcAft>
        <a:buClr>
          <a:schemeClr val="accent1"/>
        </a:buClr>
        <a:buSzPct val="80000"/>
        <a:buFont typeface="Wingdings" pitchFamily="2" charset="2"/>
        <a:buChar char="n"/>
        <a:defRPr sz="1400">
          <a:solidFill>
            <a:srgbClr val="474747"/>
          </a:solidFill>
          <a:latin typeface="+mn-lt"/>
        </a:defRPr>
      </a:lvl7pPr>
      <a:lvl8pPr marL="2971801" indent="-223838" algn="l" rtl="0" eaLnBrk="1" fontAlgn="base" hangingPunct="1">
        <a:spcBef>
          <a:spcPct val="25000"/>
        </a:spcBef>
        <a:spcAft>
          <a:spcPct val="0"/>
        </a:spcAft>
        <a:buClr>
          <a:schemeClr val="accent1"/>
        </a:buClr>
        <a:buSzPct val="80000"/>
        <a:buFont typeface="Wingdings" pitchFamily="2" charset="2"/>
        <a:buChar char="n"/>
        <a:defRPr sz="1400">
          <a:solidFill>
            <a:srgbClr val="474747"/>
          </a:solidFill>
          <a:latin typeface="+mn-lt"/>
        </a:defRPr>
      </a:lvl8pPr>
      <a:lvl9pPr marL="3429000" indent="-223838" algn="l" rtl="0" eaLnBrk="1" fontAlgn="base" hangingPunct="1">
        <a:spcBef>
          <a:spcPct val="25000"/>
        </a:spcBef>
        <a:spcAft>
          <a:spcPct val="0"/>
        </a:spcAft>
        <a:buClr>
          <a:schemeClr val="accent1"/>
        </a:buClr>
        <a:buSzPct val="80000"/>
        <a:buFont typeface="Wingdings" pitchFamily="2" charset="2"/>
        <a:buChar char="n"/>
        <a:defRPr sz="1400">
          <a:solidFill>
            <a:srgbClr val="474747"/>
          </a:solidFill>
          <a:latin typeface="+mn-lt"/>
        </a:defRPr>
      </a:lvl9pPr>
    </p:bodyStyle>
    <p:otherStyle>
      <a:defPPr>
        <a:defRPr lang="en-US"/>
      </a:defPPr>
      <a:lvl1pPr marL="0" algn="l" defTabSz="9144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1" algn="l" defTabSz="9144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99" algn="l" defTabSz="9144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99" algn="l" defTabSz="9144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2975" y="365125"/>
            <a:ext cx="1183005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2975" y="1825625"/>
            <a:ext cx="1183005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42975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CB695A-B38D-404F-8A51-C20ED0749767}" type="datetimeFigureOut">
              <a:rPr lang="en-IN" smtClean="0"/>
              <a:t>13-04-2022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43425" y="6356350"/>
            <a:ext cx="46291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686925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5801AD-2E18-4EEA-AD2C-27DAF8E82B1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606040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81914" y="32952"/>
            <a:ext cx="12548286" cy="8964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81914" y="1100451"/>
            <a:ext cx="12548286" cy="5405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 bwMode="gray">
          <a:xfrm>
            <a:off x="504138" y="6573226"/>
            <a:ext cx="13008407" cy="26658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fld id="{CF93EE7D-6689-4778-B89F-3EEF780A01DC}" type="slidenum">
              <a:rPr lang="en-US" sz="900" smtClean="0">
                <a:solidFill>
                  <a:srgbClr val="008ED0"/>
                </a:solidFill>
                <a:latin typeface="Trebuchet MS"/>
                <a:cs typeface="Trebuchet MS"/>
              </a:rPr>
              <a:pPr algn="l"/>
              <a:t>‹#›</a:t>
            </a:fld>
            <a:r>
              <a:rPr lang="en-US" sz="900">
                <a:solidFill>
                  <a:srgbClr val="008ED0"/>
                </a:solidFill>
                <a:latin typeface="Trebuchet MS"/>
                <a:cs typeface="Trebuchet MS"/>
              </a:rPr>
              <a:t> </a:t>
            </a:r>
            <a:r>
              <a:rPr lang="en-US" sz="900">
                <a:solidFill>
                  <a:srgbClr val="595959">
                    <a:lumMod val="75000"/>
                  </a:srgbClr>
                </a:solidFill>
                <a:latin typeface="Trebuchet MS"/>
                <a:cs typeface="Trebuchet MS"/>
              </a:rPr>
              <a:t>| </a:t>
            </a:r>
            <a:fld id="{84D20077-DA0E-4E91-ADC7-8CBCF822B402}" type="datetime4">
              <a:rPr lang="en-US" sz="900" smtClean="0">
                <a:solidFill>
                  <a:srgbClr val="595959">
                    <a:lumMod val="75000"/>
                  </a:srgbClr>
                </a:solidFill>
                <a:latin typeface="Trebuchet MS"/>
                <a:cs typeface="Trebuchet MS"/>
              </a:rPr>
              <a:pPr algn="l"/>
              <a:t>April 13, 2022</a:t>
            </a:fld>
            <a:r>
              <a:rPr lang="en-US" sz="900">
                <a:solidFill>
                  <a:srgbClr val="595959">
                    <a:lumMod val="75000"/>
                  </a:srgbClr>
                </a:solidFill>
                <a:latin typeface="Trebuchet MS"/>
                <a:cs typeface="Trebuchet MS"/>
              </a:rPr>
              <a:t> | © </a:t>
            </a:r>
            <a:r>
              <a:rPr lang="en-US" sz="900" spc="-40">
                <a:solidFill>
                  <a:srgbClr val="595959">
                    <a:lumMod val="75000"/>
                  </a:srgbClr>
                </a:solidFill>
                <a:latin typeface="Trebuchet MS"/>
                <a:cs typeface="Trebuchet MS"/>
              </a:rPr>
              <a:t>201</a:t>
            </a:r>
            <a:r>
              <a:rPr lang="en-US" sz="900">
                <a:solidFill>
                  <a:srgbClr val="595959">
                    <a:lumMod val="75000"/>
                  </a:srgbClr>
                </a:solidFill>
                <a:latin typeface="Trebuchet MS"/>
                <a:cs typeface="Trebuchet MS"/>
              </a:rPr>
              <a:t>5 ExlService Holdings, Inc.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19715" y="152400"/>
            <a:ext cx="1371605" cy="659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6444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</p:sldLayoutIdLst>
  <p:transition spd="slow">
    <p:split orient="vert"/>
  </p:transition>
  <p:hf hdr="0" ftr="0" dt="0"/>
  <p:txStyles>
    <p:titleStyle>
      <a:lvl1pPr algn="l" defTabSz="914401" rtl="0" eaLnBrk="1" latinLnBrk="0" hangingPunct="1">
        <a:spcBef>
          <a:spcPct val="0"/>
        </a:spcBef>
        <a:buNone/>
        <a:defRPr lang="en-US" sz="2600" kern="1200" dirty="0" smtClean="0">
          <a:solidFill>
            <a:schemeClr val="tx1">
              <a:lumMod val="75000"/>
            </a:schemeClr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1" rtl="0" eaLnBrk="1" latinLnBrk="0" hangingPunct="1">
        <a:spcBef>
          <a:spcPts val="600"/>
        </a:spcBef>
        <a:spcAft>
          <a:spcPts val="400"/>
        </a:spcAft>
        <a:buFontTx/>
        <a:buNone/>
        <a:defRPr sz="2400" kern="1200">
          <a:solidFill>
            <a:schemeClr val="accent1"/>
          </a:solidFill>
          <a:latin typeface="Trebuchet MS" pitchFamily="34" charset="0"/>
          <a:ea typeface="+mn-ea"/>
          <a:cs typeface="+mn-cs"/>
        </a:defRPr>
      </a:lvl1pPr>
      <a:lvl2pPr marL="512764" indent="-285749" algn="l" defTabSz="914401" rtl="0" eaLnBrk="1" latinLnBrk="0" hangingPunct="1">
        <a:spcBef>
          <a:spcPct val="20000"/>
        </a:spcBef>
        <a:buFontTx/>
        <a:buBlip>
          <a:blip r:embed="rId13"/>
        </a:buBlip>
        <a:defRPr sz="2000" kern="1200">
          <a:solidFill>
            <a:schemeClr val="tx1">
              <a:lumMod val="75000"/>
            </a:schemeClr>
          </a:solidFill>
          <a:latin typeface="Century Gothic" pitchFamily="34" charset="0"/>
          <a:ea typeface="+mn-ea"/>
          <a:cs typeface="+mn-cs"/>
        </a:defRPr>
      </a:lvl2pPr>
      <a:lvl3pPr marL="739775" indent="-228599" algn="l" defTabSz="914401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+"/>
        <a:defRPr sz="1600" kern="1200">
          <a:solidFill>
            <a:schemeClr val="tx1">
              <a:lumMod val="75000"/>
            </a:schemeClr>
          </a:solidFill>
          <a:latin typeface="Century Gothic" pitchFamily="34" charset="0"/>
          <a:ea typeface="+mn-ea"/>
          <a:cs typeface="+mn-cs"/>
        </a:defRPr>
      </a:lvl3pPr>
      <a:lvl4pPr marL="974726" indent="-228599" algn="l" defTabSz="914401" rtl="0" eaLnBrk="1" latinLnBrk="0" hangingPunct="1">
        <a:spcBef>
          <a:spcPct val="20000"/>
        </a:spcBef>
        <a:buClr>
          <a:schemeClr val="accent1"/>
        </a:buClr>
        <a:buFont typeface="Century Gothic" pitchFamily="34" charset="0"/>
        <a:buChar char="&gt;"/>
        <a:defRPr sz="1600" kern="1200">
          <a:solidFill>
            <a:schemeClr val="tx1">
              <a:lumMod val="75000"/>
            </a:schemeClr>
          </a:solidFill>
          <a:latin typeface="Century Gothic" pitchFamily="34" charset="0"/>
          <a:ea typeface="+mn-ea"/>
          <a:cs typeface="+mn-cs"/>
        </a:defRPr>
      </a:lvl4pPr>
      <a:lvl5pPr marL="1200150" indent="-228599" algn="l" defTabSz="914401" rtl="0" eaLnBrk="1" latinLnBrk="0" hangingPunct="1">
        <a:spcBef>
          <a:spcPct val="20000"/>
        </a:spcBef>
        <a:buClr>
          <a:srgbClr val="676767"/>
        </a:buClr>
        <a:buFont typeface="Arial" pitchFamily="34" charset="0"/>
        <a:buChar char="+"/>
        <a:defRPr sz="1600" kern="1200">
          <a:solidFill>
            <a:schemeClr val="tx1">
              <a:lumMod val="75000"/>
            </a:schemeClr>
          </a:solidFill>
          <a:latin typeface="Century Gothic" pitchFamily="34" charset="0"/>
          <a:ea typeface="+mn-ea"/>
          <a:cs typeface="+mn-cs"/>
        </a:defRPr>
      </a:lvl5pPr>
      <a:lvl6pPr marL="2514600" indent="-228599" algn="l" defTabSz="91440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1" indent="-228599" algn="l" defTabSz="91440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599" algn="l" defTabSz="91440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99" indent="-228599" algn="l" defTabSz="91440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1" algn="l" defTabSz="9144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99" algn="l" defTabSz="9144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99" algn="l" defTabSz="9144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png"/><Relationship Id="rId18" Type="http://schemas.openxmlformats.org/officeDocument/2006/relationships/image" Target="../media/image16.jpeg"/><Relationship Id="rId3" Type="http://schemas.openxmlformats.org/officeDocument/2006/relationships/diagramLayout" Target="../diagrams/layout1.xml"/><Relationship Id="rId21" Type="http://schemas.openxmlformats.org/officeDocument/2006/relationships/diagramQuickStyle" Target="../diagrams/quickStyle2.xml"/><Relationship Id="rId7" Type="http://schemas.openxmlformats.org/officeDocument/2006/relationships/image" Target="../media/image5.jpeg"/><Relationship Id="rId12" Type="http://schemas.openxmlformats.org/officeDocument/2006/relationships/image" Target="../media/image10.png"/><Relationship Id="rId17" Type="http://schemas.openxmlformats.org/officeDocument/2006/relationships/image" Target="../media/image15.png"/><Relationship Id="rId2" Type="http://schemas.openxmlformats.org/officeDocument/2006/relationships/diagramData" Target="../diagrams/data1.xml"/><Relationship Id="rId16" Type="http://schemas.openxmlformats.org/officeDocument/2006/relationships/image" Target="../media/image14.png"/><Relationship Id="rId20" Type="http://schemas.openxmlformats.org/officeDocument/2006/relationships/diagramLayout" Target="../diagrams/layout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11" Type="http://schemas.openxmlformats.org/officeDocument/2006/relationships/image" Target="../media/image9.png"/><Relationship Id="rId5" Type="http://schemas.openxmlformats.org/officeDocument/2006/relationships/diagramColors" Target="../diagrams/colors1.xml"/><Relationship Id="rId15" Type="http://schemas.openxmlformats.org/officeDocument/2006/relationships/image" Target="../media/image13.png"/><Relationship Id="rId23" Type="http://schemas.microsoft.com/office/2007/relationships/diagramDrawing" Target="../diagrams/drawing2.xml"/><Relationship Id="rId10" Type="http://schemas.openxmlformats.org/officeDocument/2006/relationships/image" Target="../media/image8.png"/><Relationship Id="rId19" Type="http://schemas.openxmlformats.org/officeDocument/2006/relationships/diagramData" Target="../diagrams/data2.xml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7.png"/><Relationship Id="rId14" Type="http://schemas.openxmlformats.org/officeDocument/2006/relationships/image" Target="../media/image12.jpg"/><Relationship Id="rId22" Type="http://schemas.openxmlformats.org/officeDocument/2006/relationships/diagramColors" Target="../diagrams/colors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2286000" y="0"/>
            <a:ext cx="9144000" cy="3773804"/>
            <a:chOff x="0" y="0"/>
            <a:chExt cx="9144000" cy="3773804"/>
          </a:xfrm>
        </p:grpSpPr>
        <p:sp>
          <p:nvSpPr>
            <p:cNvPr id="3" name="object 3"/>
            <p:cNvSpPr/>
            <p:nvPr/>
          </p:nvSpPr>
          <p:spPr>
            <a:xfrm>
              <a:off x="472440" y="3112007"/>
              <a:ext cx="3959860" cy="661670"/>
            </a:xfrm>
            <a:custGeom>
              <a:avLst/>
              <a:gdLst/>
              <a:ahLst/>
              <a:cxnLst/>
              <a:rect l="l" t="t" r="r" b="b"/>
              <a:pathLst>
                <a:path w="3959860" h="661670">
                  <a:moveTo>
                    <a:pt x="3959352" y="0"/>
                  </a:moveTo>
                  <a:lnTo>
                    <a:pt x="0" y="0"/>
                  </a:lnTo>
                  <a:lnTo>
                    <a:pt x="0" y="661415"/>
                  </a:lnTo>
                  <a:lnTo>
                    <a:pt x="3959352" y="661415"/>
                  </a:lnTo>
                  <a:lnTo>
                    <a:pt x="3959352" y="0"/>
                  </a:lnTo>
                  <a:close/>
                </a:path>
              </a:pathLst>
            </a:custGeom>
            <a:solidFill>
              <a:srgbClr val="A61D1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0" y="0"/>
              <a:ext cx="9144000" cy="3112135"/>
            </a:xfrm>
            <a:custGeom>
              <a:avLst/>
              <a:gdLst/>
              <a:ahLst/>
              <a:cxnLst/>
              <a:rect l="l" t="t" r="r" b="b"/>
              <a:pathLst>
                <a:path w="9144000" h="3112135">
                  <a:moveTo>
                    <a:pt x="9144000" y="0"/>
                  </a:moveTo>
                  <a:lnTo>
                    <a:pt x="0" y="0"/>
                  </a:lnTo>
                  <a:lnTo>
                    <a:pt x="0" y="3112008"/>
                  </a:lnTo>
                  <a:lnTo>
                    <a:pt x="9144000" y="3112008"/>
                  </a:lnTo>
                  <a:lnTo>
                    <a:pt x="9144000" y="0"/>
                  </a:lnTo>
                  <a:close/>
                </a:path>
              </a:pathLst>
            </a:custGeom>
            <a:solidFill>
              <a:srgbClr val="094D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" name="object 10"/>
          <p:cNvSpPr txBox="1">
            <a:spLocks noGrp="1"/>
          </p:cNvSpPr>
          <p:nvPr>
            <p:ph type="title"/>
          </p:nvPr>
        </p:nvSpPr>
        <p:spPr>
          <a:xfrm>
            <a:off x="2870708" y="1935608"/>
            <a:ext cx="7051040" cy="422275"/>
          </a:xfrm>
          <a:prstGeom prst="rect">
            <a:avLst/>
          </a:prstGeom>
        </p:spPr>
        <p:txBody>
          <a:bodyPr vert="horz" wrap="square" lIns="0" tIns="13335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2700" algn="ctr">
              <a:spcBef>
                <a:spcPts val="105"/>
              </a:spcBef>
            </a:pPr>
            <a:r>
              <a:rPr lang="en-US" sz="2600" dirty="0"/>
              <a:t>DevSecOps</a:t>
            </a:r>
            <a:endParaRPr sz="2600" dirty="0"/>
          </a:p>
        </p:txBody>
      </p:sp>
      <p:sp>
        <p:nvSpPr>
          <p:cNvPr id="11" name="object 11"/>
          <p:cNvSpPr txBox="1"/>
          <p:nvPr/>
        </p:nvSpPr>
        <p:spPr>
          <a:xfrm>
            <a:off x="2870709" y="2787522"/>
            <a:ext cx="1528445" cy="68223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spcBef>
                <a:spcPts val="40"/>
              </a:spcBef>
            </a:pPr>
            <a:endParaRPr sz="1550" dirty="0">
              <a:latin typeface="Arial MT"/>
              <a:cs typeface="Arial MT"/>
            </a:endParaRPr>
          </a:p>
          <a:p>
            <a:pPr marL="12700"/>
            <a:endParaRPr sz="1400" dirty="0">
              <a:latin typeface="Arial"/>
              <a:cs typeface="Arial"/>
            </a:endParaRPr>
          </a:p>
          <a:p>
            <a:pPr marL="12700">
              <a:spcBef>
                <a:spcPts val="40"/>
              </a:spcBef>
            </a:pPr>
            <a:r>
              <a:rPr lang="en-US" sz="1400" spc="-5" dirty="0">
                <a:solidFill>
                  <a:srgbClr val="FFFFFF"/>
                </a:solidFill>
                <a:latin typeface="Arial MT"/>
                <a:cs typeface="Arial MT"/>
              </a:rPr>
              <a:t>Pulkit Kumar</a:t>
            </a:r>
            <a:endParaRPr sz="1400" dirty="0">
              <a:latin typeface="Arial MT"/>
              <a:cs typeface="Arial MT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ounded Rectangle 27"/>
          <p:cNvSpPr/>
          <p:nvPr/>
        </p:nvSpPr>
        <p:spPr bwMode="auto">
          <a:xfrm>
            <a:off x="460375" y="720700"/>
            <a:ext cx="12302036" cy="5870644"/>
          </a:xfrm>
          <a:prstGeom prst="roundRect">
            <a:avLst/>
          </a:prstGeom>
          <a:noFill/>
          <a:ln w="9525" cap="flat" cmpd="sng" algn="ctr">
            <a:solidFill>
              <a:schemeClr val="bg2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54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50061" y="75702"/>
            <a:ext cx="11246709" cy="584775"/>
          </a:xfrm>
        </p:spPr>
        <p:txBody>
          <a:bodyPr/>
          <a:lstStyle/>
          <a:p>
            <a:r>
              <a:rPr lang="en-US" sz="3200" dirty="0"/>
              <a:t>DevSecOps - CI process with Security checks</a:t>
            </a: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58691303"/>
              </p:ext>
            </p:extLst>
          </p:nvPr>
        </p:nvGraphicFramePr>
        <p:xfrm>
          <a:off x="841451" y="827110"/>
          <a:ext cx="11529076" cy="55767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3384213" y="6557664"/>
            <a:ext cx="331787" cy="276999"/>
          </a:xfrm>
        </p:spPr>
        <p:txBody>
          <a:bodyPr/>
          <a:lstStyle/>
          <a:p>
            <a:pPr>
              <a:defRPr/>
            </a:pPr>
            <a:fld id="{51B901D1-D6F8-4F4F-A72A-71883671B0B6}" type="slidenum">
              <a:rPr lang="en-US" sz="1200">
                <a:solidFill>
                  <a:srgbClr val="474747"/>
                </a:solidFill>
              </a:rPr>
              <a:pPr>
                <a:defRPr/>
              </a:pPr>
              <a:t>2</a:t>
            </a:fld>
            <a:endParaRPr lang="en-US" sz="1200" dirty="0">
              <a:solidFill>
                <a:srgbClr val="474747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5447" y="4655187"/>
            <a:ext cx="1757216" cy="117022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0260" y="5877758"/>
            <a:ext cx="966568" cy="66693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1840" y="827109"/>
            <a:ext cx="1857229" cy="436449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4888" y="4330240"/>
            <a:ext cx="1783262" cy="685514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 bwMode="gray">
          <a:xfrm>
            <a:off x="999992" y="2193817"/>
            <a:ext cx="2795452" cy="2693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36" indent="-285736">
              <a:spcBef>
                <a:spcPts val="300"/>
              </a:spcBef>
              <a:buClr>
                <a:srgbClr val="0081C6"/>
              </a:buClr>
              <a:buSzPct val="80000"/>
              <a:buFont typeface="Wingdings" panose="05000000000000000000" pitchFamily="2" charset="2"/>
              <a:buChar char="n"/>
            </a:pPr>
            <a:r>
              <a:rPr lang="en-US" sz="1100" dirty="0"/>
              <a:t>Jenkins Dev  build</a:t>
            </a:r>
          </a:p>
          <a:p>
            <a:pPr marL="742913" lvl="1" indent="-285736">
              <a:spcBef>
                <a:spcPts val="300"/>
              </a:spcBef>
              <a:buClr>
                <a:srgbClr val="0081C6"/>
              </a:buClr>
              <a:buSzPct val="80000"/>
              <a:buFont typeface="Wingdings" panose="05000000000000000000" pitchFamily="2" charset="2"/>
              <a:buChar char="n"/>
            </a:pPr>
            <a:r>
              <a:rPr lang="en-US" sz="1100" dirty="0"/>
              <a:t>Binary built in Jenkins and copied to File server</a:t>
            </a:r>
          </a:p>
          <a:p>
            <a:pPr marL="742913" lvl="1" indent="-285736">
              <a:spcBef>
                <a:spcPts val="300"/>
              </a:spcBef>
              <a:buClr>
                <a:srgbClr val="0081C6"/>
              </a:buClr>
              <a:buSzPct val="80000"/>
              <a:buFont typeface="Wingdings" panose="05000000000000000000" pitchFamily="2" charset="2"/>
              <a:buChar char="n"/>
            </a:pPr>
            <a:r>
              <a:rPr lang="en-US" sz="1100" dirty="0"/>
              <a:t>Docker script creates the </a:t>
            </a:r>
            <a:r>
              <a:rPr lang="en-US" sz="1100" dirty="0" err="1"/>
              <a:t>docker</a:t>
            </a:r>
            <a:r>
              <a:rPr lang="en-US" sz="1100" dirty="0"/>
              <a:t> image</a:t>
            </a:r>
          </a:p>
          <a:p>
            <a:pPr marL="285736" indent="-285736">
              <a:spcBef>
                <a:spcPts val="300"/>
              </a:spcBef>
              <a:buClr>
                <a:srgbClr val="0081C6"/>
              </a:buClr>
              <a:buSzPct val="80000"/>
              <a:buFont typeface="Wingdings" panose="05000000000000000000" pitchFamily="2" charset="2"/>
              <a:buChar char="n"/>
            </a:pPr>
            <a:r>
              <a:rPr lang="en-US" sz="1100" dirty="0"/>
              <a:t>Jenkins – Deploy  (By Developer)</a:t>
            </a:r>
          </a:p>
          <a:p>
            <a:pPr marL="742913" lvl="1" indent="-285736">
              <a:spcBef>
                <a:spcPts val="300"/>
              </a:spcBef>
              <a:buClr>
                <a:srgbClr val="0081C6"/>
              </a:buClr>
              <a:buSzPct val="80000"/>
              <a:buFont typeface="Wingdings" panose="05000000000000000000" pitchFamily="2" charset="2"/>
              <a:buChar char="n"/>
            </a:pPr>
            <a:r>
              <a:rPr lang="en-US" sz="1100" dirty="0"/>
              <a:t>Deploys on the target </a:t>
            </a:r>
            <a:r>
              <a:rPr lang="en-US" sz="1100" dirty="0" err="1"/>
              <a:t>env</a:t>
            </a:r>
            <a:r>
              <a:rPr lang="en-US" sz="1100" dirty="0"/>
              <a:t> – Dev</a:t>
            </a:r>
          </a:p>
          <a:p>
            <a:pPr marL="285736" indent="-285736">
              <a:spcBef>
                <a:spcPts val="300"/>
              </a:spcBef>
              <a:buClr>
                <a:srgbClr val="0081C6"/>
              </a:buClr>
              <a:buSzPct val="80000"/>
              <a:buFont typeface="Wingdings" panose="05000000000000000000" pitchFamily="2" charset="2"/>
              <a:buChar char="n"/>
            </a:pPr>
            <a:r>
              <a:rPr lang="en-US" sz="1100" dirty="0">
                <a:solidFill>
                  <a:srgbClr val="474747"/>
                </a:solidFill>
              </a:rPr>
              <a:t>Jenkins – Deploy (By Dev Ops)</a:t>
            </a:r>
          </a:p>
          <a:p>
            <a:pPr marL="742913" lvl="1" indent="-285736">
              <a:spcBef>
                <a:spcPts val="300"/>
              </a:spcBef>
              <a:buClr>
                <a:srgbClr val="0081C6"/>
              </a:buClr>
              <a:buSzPct val="80000"/>
              <a:buFont typeface="Wingdings" panose="05000000000000000000" pitchFamily="2" charset="2"/>
              <a:buChar char="n"/>
            </a:pPr>
            <a:r>
              <a:rPr lang="en-US" sz="1100" dirty="0">
                <a:solidFill>
                  <a:srgbClr val="474747"/>
                </a:solidFill>
              </a:rPr>
              <a:t>Pre-built Dev Image deployed to target environment</a:t>
            </a:r>
          </a:p>
          <a:p>
            <a:pPr lvl="0"/>
            <a:endParaRPr lang="en-US" sz="1050" dirty="0"/>
          </a:p>
          <a:p>
            <a:pPr lvl="1"/>
            <a:endParaRPr lang="en-US" sz="900" dirty="0"/>
          </a:p>
          <a:p>
            <a:pPr marL="285736" indent="-285736">
              <a:spcBef>
                <a:spcPts val="300"/>
              </a:spcBef>
              <a:buClr>
                <a:srgbClr val="0081C6"/>
              </a:buClr>
              <a:buSzPct val="80000"/>
              <a:buFont typeface="Wingdings" panose="05000000000000000000" pitchFamily="2" charset="2"/>
              <a:buChar char="n"/>
            </a:pPr>
            <a:endParaRPr lang="en-US" sz="1100" dirty="0">
              <a:solidFill>
                <a:srgbClr val="474747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2381" y="2120529"/>
            <a:ext cx="2699615" cy="809884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938919" y="853822"/>
            <a:ext cx="1093742" cy="855107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2380" y="720700"/>
            <a:ext cx="797106" cy="882776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4435" y="859937"/>
            <a:ext cx="1322614" cy="514350"/>
          </a:xfrm>
          <a:prstGeom prst="rect">
            <a:avLst/>
          </a:prstGeom>
        </p:spPr>
      </p:pic>
      <p:sp>
        <p:nvSpPr>
          <p:cNvPr id="23" name="AutoShape 6" descr="Image result for CONTINUOUS INTEGRATI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1265" y="3055931"/>
            <a:ext cx="2440577" cy="1076111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544888" y="3862527"/>
            <a:ext cx="1763028" cy="560391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350213" y="5912121"/>
            <a:ext cx="806238" cy="622808"/>
          </a:xfrm>
          <a:prstGeom prst="rect">
            <a:avLst/>
          </a:prstGeom>
        </p:spPr>
      </p:pic>
      <p:pic>
        <p:nvPicPr>
          <p:cNvPr id="10242" name="Picture 2" descr="Image result for synopsys coverity logo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9211" y="5665265"/>
            <a:ext cx="1230201" cy="356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B5E6C55-4E22-4729-A023-4A77F11924B4}"/>
              </a:ext>
            </a:extLst>
          </p:cNvPr>
          <p:cNvSpPr/>
          <p:nvPr/>
        </p:nvSpPr>
        <p:spPr bwMode="auto">
          <a:xfrm>
            <a:off x="7324725" y="853822"/>
            <a:ext cx="5426878" cy="471830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rebuchet MS" pitchFamily="34" charset="0"/>
            </a:endParaRPr>
          </a:p>
        </p:txBody>
      </p:sp>
      <p:graphicFrame>
        <p:nvGraphicFramePr>
          <p:cNvPr id="24" name="Content Placeholder 5">
            <a:extLst>
              <a:ext uri="{FF2B5EF4-FFF2-40B4-BE49-F238E27FC236}">
                <a16:creationId xmlns:a16="http://schemas.microsoft.com/office/drawing/2014/main" id="{2DF4A9D4-0458-439C-B27B-A820533FA32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58691303"/>
              </p:ext>
            </p:extLst>
          </p:nvPr>
        </p:nvGraphicFramePr>
        <p:xfrm>
          <a:off x="846855" y="827109"/>
          <a:ext cx="11529076" cy="55767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9" r:lo="rId20" r:qs="rId21" r:cs="rId22"/>
          </a:graphicData>
        </a:graphic>
      </p:graphicFrame>
    </p:spTree>
    <p:extLst>
      <p:ext uri="{BB962C8B-B14F-4D97-AF65-F5344CB8AC3E}">
        <p14:creationId xmlns:p14="http://schemas.microsoft.com/office/powerpoint/2010/main" val="39707980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2934" y="301757"/>
            <a:ext cx="12706350" cy="430887"/>
          </a:xfrm>
        </p:spPr>
        <p:txBody>
          <a:bodyPr/>
          <a:lstStyle/>
          <a:p>
            <a:r>
              <a:rPr lang="en-US" dirty="0"/>
              <a:t>DevSecOps - Continuous security validation to CI/CD pipeline – Industry Recommendation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519117" y="1071154"/>
            <a:ext cx="5071787" cy="4376057"/>
          </a:xfrm>
        </p:spPr>
        <p:txBody>
          <a:bodyPr/>
          <a:lstStyle/>
          <a:p>
            <a:r>
              <a:rPr lang="en-US" dirty="0"/>
              <a:t>DevSecOps incorporates the security team and their capabilities into the DevOps practices making security a responsibility of everyone on the team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Security needs to shift from an afterthought to being evaluated at every step of the process. 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Securing applications is a continuous process that encompasses secure infrastructure, designing an architecture with layered security, continuous security validation, and monitoring for attacks.</a:t>
            </a:r>
          </a:p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619980A-B1E7-47B0-A533-8276885B9457}" type="slidenum">
              <a:rPr lang="en-US" smtClean="0">
                <a:solidFill>
                  <a:srgbClr val="474747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en-US">
              <a:solidFill>
                <a:srgbClr val="474747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5231" y="676218"/>
            <a:ext cx="7787784" cy="4350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31907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C0E299-64AA-49DB-AF06-FD212BA187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sz="6600" dirty="0"/>
              <a:t>Appendix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F5FE89-1CD7-48DA-80FC-363ED377C7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1B901D1-D6F8-4F4F-A72A-71883671B0B6}" type="slidenum">
              <a:rPr lang="en-US" smtClean="0">
                <a:solidFill>
                  <a:srgbClr val="474747"/>
                </a:solidFill>
              </a:rPr>
              <a:pPr>
                <a:defRPr/>
              </a:pPr>
              <a:t>4</a:t>
            </a:fld>
            <a:endParaRPr lang="en-US">
              <a:solidFill>
                <a:srgbClr val="4747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34272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2934" y="301758"/>
            <a:ext cx="12706350" cy="430887"/>
          </a:xfrm>
        </p:spPr>
        <p:txBody>
          <a:bodyPr/>
          <a:lstStyle/>
          <a:p>
            <a:r>
              <a:rPr lang="en-US" dirty="0" err="1"/>
              <a:t>Coverity</a:t>
            </a:r>
            <a:r>
              <a:rPr lang="en-US" dirty="0"/>
              <a:t> and </a:t>
            </a:r>
            <a:r>
              <a:rPr lang="en-US" dirty="0" err="1"/>
              <a:t>BlackDuck</a:t>
            </a:r>
            <a:r>
              <a:rPr lang="en-US" dirty="0"/>
              <a:t> in CI/C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2934" y="989045"/>
            <a:ext cx="4716184" cy="5085183"/>
          </a:xfrm>
        </p:spPr>
        <p:txBody>
          <a:bodyPr/>
          <a:lstStyle/>
          <a:p>
            <a:r>
              <a:rPr lang="en-US" dirty="0"/>
              <a:t>Pipeline jobs are configured to pull the code from Source Code Repository (SVN) and does the scan using </a:t>
            </a:r>
            <a:r>
              <a:rPr lang="en-US" dirty="0" err="1"/>
              <a:t>Coverity</a:t>
            </a:r>
            <a:r>
              <a:rPr lang="en-US" dirty="0"/>
              <a:t> software and </a:t>
            </a:r>
            <a:r>
              <a:rPr lang="en-US" dirty="0" err="1"/>
              <a:t>Blackduck</a:t>
            </a:r>
            <a:r>
              <a:rPr lang="en-US" dirty="0"/>
              <a:t> Detect.</a:t>
            </a:r>
          </a:p>
          <a:p>
            <a:r>
              <a:rPr lang="en-US" dirty="0" err="1"/>
              <a:t>Blackduck</a:t>
            </a:r>
            <a:r>
              <a:rPr lang="en-US" dirty="0"/>
              <a:t> hub plugin for Jenkins is used to do detect open source libraries and Windows Batch Commands are used for static code analysis.</a:t>
            </a:r>
          </a:p>
          <a:p>
            <a:r>
              <a:rPr lang="en-US" dirty="0"/>
              <a:t>Scan results are published to </a:t>
            </a:r>
            <a:r>
              <a:rPr lang="en-US" dirty="0" err="1"/>
              <a:t>Coverity</a:t>
            </a:r>
            <a:r>
              <a:rPr lang="en-US" dirty="0"/>
              <a:t> and </a:t>
            </a:r>
            <a:r>
              <a:rPr lang="en-US" dirty="0" err="1"/>
              <a:t>Blackduck</a:t>
            </a:r>
            <a:r>
              <a:rPr lang="en-US" dirty="0"/>
              <a:t> dashboards which are running on respective host machines in AWS.</a:t>
            </a:r>
          </a:p>
          <a:p>
            <a:r>
              <a:rPr lang="en-US" dirty="0"/>
              <a:t>Dashboards are accessible from any web browser which is configured through AWS Route 53 URL’s.</a:t>
            </a:r>
          </a:p>
          <a:p>
            <a:r>
              <a:rPr lang="en-US" dirty="0"/>
              <a:t>Application specific users are created for the Developers to access the dashboards and address the issue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1B901D1-D6F8-4F4F-A72A-71883671B0B6}" type="slidenum">
              <a:rPr lang="en-US" smtClean="0">
                <a:solidFill>
                  <a:srgbClr val="474747"/>
                </a:solidFill>
              </a:rPr>
              <a:pPr>
                <a:defRPr/>
              </a:pPr>
              <a:t>5</a:t>
            </a:fld>
            <a:endParaRPr lang="en-US">
              <a:solidFill>
                <a:srgbClr val="474747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98968" y="933059"/>
            <a:ext cx="7539135" cy="195314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11921" y="3152223"/>
            <a:ext cx="7526182" cy="2556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71788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2934" y="301757"/>
            <a:ext cx="12706350" cy="430887"/>
          </a:xfrm>
        </p:spPr>
        <p:txBody>
          <a:bodyPr/>
          <a:lstStyle/>
          <a:p>
            <a:r>
              <a:rPr lang="en-US" dirty="0"/>
              <a:t>DevSecOps: Process description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2934" y="628140"/>
            <a:ext cx="6761455" cy="5921950"/>
          </a:xfrm>
        </p:spPr>
        <p:txBody>
          <a:bodyPr/>
          <a:lstStyle/>
          <a:p>
            <a:r>
              <a:rPr lang="en-US" dirty="0"/>
              <a:t>IDE / Commit request to Source code repository </a:t>
            </a:r>
          </a:p>
          <a:p>
            <a:pPr lvl="1"/>
            <a:r>
              <a:rPr lang="en-US" dirty="0"/>
              <a:t>Validation in the CI/CD begins before the developer commits his or her code. Secure Assist in the IDE provides the first line of defense related to security vulnerabilities 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Both </a:t>
            </a:r>
            <a:r>
              <a:rPr lang="en-US" dirty="0" err="1"/>
              <a:t>SecureAssist</a:t>
            </a:r>
            <a:r>
              <a:rPr lang="en-US" dirty="0"/>
              <a:t> and </a:t>
            </a:r>
            <a:r>
              <a:rPr lang="en-US" dirty="0" err="1"/>
              <a:t>Coverity</a:t>
            </a:r>
            <a:r>
              <a:rPr lang="en-US" dirty="0"/>
              <a:t> use “checkers” to identify the various classes of vulnerabilities and </a:t>
            </a:r>
            <a:r>
              <a:rPr lang="en-US" dirty="0" err="1"/>
              <a:t>BlackDuck</a:t>
            </a:r>
            <a:r>
              <a:rPr lang="en-US" dirty="0"/>
              <a:t> detects the open source libraries </a:t>
            </a:r>
          </a:p>
          <a:p>
            <a:pPr lvl="2"/>
            <a:r>
              <a:rPr lang="en-US" dirty="0"/>
              <a:t>Secure Assist is available (only) in the IDE of developer </a:t>
            </a:r>
          </a:p>
          <a:p>
            <a:pPr lvl="2"/>
            <a:r>
              <a:rPr lang="en-US" dirty="0"/>
              <a:t>Checks for new checkers every time the IDE is restarted</a:t>
            </a:r>
          </a:p>
          <a:p>
            <a:pPr lvl="2"/>
            <a:r>
              <a:rPr lang="en-US" dirty="0"/>
              <a:t>No action from developers to access the updates.</a:t>
            </a:r>
          </a:p>
          <a:p>
            <a:pPr lvl="3"/>
            <a:r>
              <a:rPr lang="en-US" dirty="0" err="1"/>
              <a:t>SecureAssist’s</a:t>
            </a:r>
            <a:r>
              <a:rPr lang="en-US" dirty="0"/>
              <a:t> checkers are updated 2-3 times/year as part of standard maintenance updates</a:t>
            </a:r>
          </a:p>
          <a:p>
            <a:pPr lvl="2"/>
            <a:r>
              <a:rPr lang="en-US" dirty="0"/>
              <a:t>For, </a:t>
            </a:r>
            <a:r>
              <a:rPr lang="en-US" dirty="0" err="1"/>
              <a:t>Coverity</a:t>
            </a:r>
            <a:r>
              <a:rPr lang="en-US" dirty="0"/>
              <a:t>, checkers are added/modified during quarterly product releases </a:t>
            </a:r>
          </a:p>
          <a:p>
            <a:pPr lvl="3"/>
            <a:r>
              <a:rPr lang="en-US" dirty="0"/>
              <a:t>Post release, new license is shared with Org. by Synopsys</a:t>
            </a:r>
          </a:p>
          <a:p>
            <a:pPr lvl="3"/>
            <a:r>
              <a:rPr lang="en-US" dirty="0"/>
              <a:t>Once the new licenses are loaded, all users will be using the most up-to-date </a:t>
            </a:r>
            <a:r>
              <a:rPr lang="en-US" dirty="0" err="1"/>
              <a:t>Coverity</a:t>
            </a:r>
            <a:r>
              <a:rPr lang="en-US" dirty="0"/>
              <a:t> version</a:t>
            </a:r>
          </a:p>
          <a:p>
            <a:pPr lvl="3"/>
            <a:r>
              <a:rPr lang="en-US" dirty="0"/>
              <a:t> </a:t>
            </a:r>
            <a:r>
              <a:rPr lang="en-US" dirty="0" err="1"/>
              <a:t>Coverity</a:t>
            </a:r>
            <a:r>
              <a:rPr lang="en-US" dirty="0"/>
              <a:t> is available both in the IDE and centralized version via Jenkins.</a:t>
            </a:r>
          </a:p>
          <a:p>
            <a:pPr lvl="3"/>
            <a:r>
              <a:rPr lang="en-US" dirty="0" err="1"/>
              <a:t>Cobertura</a:t>
            </a:r>
            <a:r>
              <a:rPr lang="en-US" dirty="0"/>
              <a:t> and </a:t>
            </a:r>
            <a:r>
              <a:rPr lang="en-US" dirty="0" err="1"/>
              <a:t>Jacoco</a:t>
            </a:r>
            <a:r>
              <a:rPr lang="en-US" dirty="0"/>
              <a:t> gives the code coverage and code complexity results</a:t>
            </a:r>
          </a:p>
          <a:p>
            <a:pPr lvl="1"/>
            <a:r>
              <a:rPr lang="en-US" b="1" dirty="0"/>
              <a:t>During this phase, coverage is checked to meet the compliance standards</a:t>
            </a:r>
          </a:p>
          <a:p>
            <a:pPr marL="342902" lvl="1" indent="0">
              <a:buNone/>
            </a:pPr>
            <a:endParaRPr lang="en-US" dirty="0"/>
          </a:p>
          <a:p>
            <a:pPr marL="342902" lvl="1" indent="0">
              <a:buNone/>
            </a:pPr>
            <a:endParaRPr lang="en-US" dirty="0"/>
          </a:p>
          <a:p>
            <a:pPr lvl="1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1B901D1-D6F8-4F4F-A72A-71883671B0B6}" type="slidenum">
              <a:rPr lang="en-US" smtClean="0">
                <a:solidFill>
                  <a:srgbClr val="474747"/>
                </a:solidFill>
              </a:rPr>
              <a:pPr>
                <a:defRPr/>
              </a:pPr>
              <a:t>6</a:t>
            </a:fld>
            <a:endParaRPr lang="en-US">
              <a:solidFill>
                <a:srgbClr val="4747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04315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0966" y="166644"/>
            <a:ext cx="12706350" cy="430887"/>
          </a:xfrm>
        </p:spPr>
        <p:txBody>
          <a:bodyPr/>
          <a:lstStyle/>
          <a:p>
            <a:r>
              <a:rPr lang="en-US" dirty="0"/>
              <a:t>DevSecOps: Process description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0629" y="597531"/>
            <a:ext cx="7156578" cy="4963514"/>
          </a:xfrm>
        </p:spPr>
        <p:txBody>
          <a:bodyPr/>
          <a:lstStyle/>
          <a:p>
            <a:r>
              <a:rPr lang="en-US" sz="1200" b="1" dirty="0"/>
              <a:t>CI/CD (Continuous Integration and Continuous Deployment)</a:t>
            </a:r>
            <a:endParaRPr lang="en-US" sz="1200" dirty="0"/>
          </a:p>
          <a:p>
            <a:pPr lvl="1"/>
            <a:r>
              <a:rPr lang="en-US" sz="1200" dirty="0"/>
              <a:t>Once the Developer commits the code to Source Code Repository (SVN), Code coverage reports are generated again from </a:t>
            </a:r>
            <a:r>
              <a:rPr lang="en-US" sz="1200" dirty="0" err="1"/>
              <a:t>Jacoco</a:t>
            </a:r>
            <a:r>
              <a:rPr lang="en-US" sz="1200" dirty="0"/>
              <a:t> plugin integrated to Jenkins.</a:t>
            </a:r>
          </a:p>
          <a:p>
            <a:pPr lvl="1"/>
            <a:endParaRPr lang="en-US" sz="1200" dirty="0"/>
          </a:p>
          <a:p>
            <a:pPr lvl="1"/>
            <a:r>
              <a:rPr lang="en-US" sz="1200" dirty="0"/>
              <a:t>A timely Jenkins job will run a Secure Assist scan through a VB script which invokes a IDE and identify the vulnerabilities and send reports with High, Medium and Low risks.</a:t>
            </a:r>
          </a:p>
          <a:p>
            <a:pPr lvl="1"/>
            <a:endParaRPr lang="en-US" sz="1200" dirty="0"/>
          </a:p>
          <a:p>
            <a:pPr lvl="1"/>
            <a:r>
              <a:rPr lang="en-US" sz="1200" dirty="0"/>
              <a:t>Jenkins Jobs for </a:t>
            </a:r>
            <a:r>
              <a:rPr lang="en-US" sz="1200" dirty="0" err="1"/>
              <a:t>Coverity</a:t>
            </a:r>
            <a:r>
              <a:rPr lang="en-US" sz="1200" dirty="0"/>
              <a:t> for static code analysis and </a:t>
            </a:r>
            <a:r>
              <a:rPr lang="en-US" sz="1200" dirty="0" err="1"/>
              <a:t>BlackDuck</a:t>
            </a:r>
            <a:r>
              <a:rPr lang="en-US" sz="1200" dirty="0"/>
              <a:t> scan for detecting open source libraries will be triggered in a similar fashion and the results are committed to respective dashboards.</a:t>
            </a:r>
          </a:p>
          <a:p>
            <a:pPr lvl="1"/>
            <a:endParaRPr lang="en-US" sz="1200" dirty="0"/>
          </a:p>
          <a:p>
            <a:pPr lvl="1"/>
            <a:r>
              <a:rPr lang="en-US" sz="1200" dirty="0"/>
              <a:t> Developers have to address the issues and re-commit the code to Source Code Repository.</a:t>
            </a:r>
          </a:p>
          <a:p>
            <a:pPr lvl="1"/>
            <a:endParaRPr lang="en-US" sz="1200" dirty="0"/>
          </a:p>
          <a:p>
            <a:pPr lvl="1"/>
            <a:r>
              <a:rPr lang="en-US" sz="1200" dirty="0"/>
              <a:t>Once code quality metrics are found compliant, the application is built as a </a:t>
            </a:r>
            <a:r>
              <a:rPr lang="en-US" sz="1200" dirty="0" err="1"/>
              <a:t>docker</a:t>
            </a:r>
            <a:r>
              <a:rPr lang="en-US" sz="1200" dirty="0"/>
              <a:t> image through Jenkins pre-configured jobs and shell scripts and deployed to the lowest environment (development)</a:t>
            </a:r>
          </a:p>
          <a:p>
            <a:pPr lvl="1"/>
            <a:endParaRPr lang="en-US" sz="1200" dirty="0"/>
          </a:p>
          <a:p>
            <a:pPr lvl="1"/>
            <a:r>
              <a:rPr lang="en-US" sz="1200" dirty="0"/>
              <a:t>Once the Developer gives a signoff for Dev Environment, application is ready to promote to higher environments (QA-STG-Prod)</a:t>
            </a:r>
          </a:p>
          <a:p>
            <a:pPr lvl="1"/>
            <a:endParaRPr lang="en-US" sz="1200" dirty="0"/>
          </a:p>
          <a:p>
            <a:pPr lvl="1"/>
            <a:r>
              <a:rPr lang="en-US" sz="1200" dirty="0"/>
              <a:t>After the application (</a:t>
            </a:r>
            <a:r>
              <a:rPr lang="en-US" sz="1200" dirty="0" err="1"/>
              <a:t>docker</a:t>
            </a:r>
            <a:r>
              <a:rPr lang="en-US" sz="1200" dirty="0"/>
              <a:t> image) is deployed to Quality Analysis, QA Team performs Unit, Integration, Sanity, Regression testing etc.</a:t>
            </a:r>
          </a:p>
          <a:p>
            <a:pPr lvl="1"/>
            <a:endParaRPr lang="en-US" sz="1200" dirty="0"/>
          </a:p>
          <a:p>
            <a:pPr lvl="1"/>
            <a:r>
              <a:rPr lang="en-US" sz="1200" dirty="0"/>
              <a:t>Once QA sign off, same </a:t>
            </a:r>
            <a:r>
              <a:rPr lang="en-US" sz="1200" dirty="0" err="1"/>
              <a:t>docker</a:t>
            </a:r>
            <a:r>
              <a:rPr lang="en-US" sz="1200" dirty="0"/>
              <a:t> image will be deployed to Production Environment on a scheduled window.</a:t>
            </a:r>
          </a:p>
          <a:p>
            <a:pPr marL="342902" lvl="1" indent="0">
              <a:buNone/>
            </a:pPr>
            <a:endParaRPr lang="en-US" sz="1200" dirty="0"/>
          </a:p>
          <a:p>
            <a:pPr marL="342902" lvl="1" indent="0">
              <a:buNone/>
            </a:pPr>
            <a:endParaRPr lang="en-US" sz="1200" dirty="0"/>
          </a:p>
          <a:p>
            <a:pPr lvl="1"/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1B901D1-D6F8-4F4F-A72A-71883671B0B6}" type="slidenum">
              <a:rPr lang="en-US" smtClean="0">
                <a:solidFill>
                  <a:srgbClr val="474747"/>
                </a:solidFill>
              </a:rPr>
              <a:pPr>
                <a:defRPr/>
              </a:pPr>
              <a:t>7</a:t>
            </a:fld>
            <a:endParaRPr lang="en-US">
              <a:solidFill>
                <a:srgbClr val="4747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37563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WK.Template_1 1">
      <a:dk1>
        <a:srgbClr val="474747"/>
      </a:dk1>
      <a:lt1>
        <a:srgbClr val="FFFFFF"/>
      </a:lt1>
      <a:dk2>
        <a:srgbClr val="80A7A5"/>
      </a:dk2>
      <a:lt2>
        <a:srgbClr val="061844"/>
      </a:lt2>
      <a:accent1>
        <a:srgbClr val="0768A9"/>
      </a:accent1>
      <a:accent2>
        <a:srgbClr val="6EBB1F"/>
      </a:accent2>
      <a:accent3>
        <a:srgbClr val="FFFFFF"/>
      </a:accent3>
      <a:accent4>
        <a:srgbClr val="3B3B3B"/>
      </a:accent4>
      <a:accent5>
        <a:srgbClr val="AAB9D1"/>
      </a:accent5>
      <a:accent6>
        <a:srgbClr val="63A91B"/>
      </a:accent6>
      <a:hlink>
        <a:srgbClr val="EE014C"/>
      </a:hlink>
      <a:folHlink>
        <a:srgbClr val="FFD100"/>
      </a:folHlink>
    </a:clrScheme>
    <a:fontScheme name="WK.Template_1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81C6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1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lnDef>
    <a:txDef>
      <a:spPr bwMode="gray"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2075" tIns="46038" rIns="92075" bIns="46038" numCol="1" rtlCol="0" anchor="t" anchorCtr="0" compatLnSpc="1">
        <a:prstTxWarp prst="textNoShape">
          <a:avLst/>
        </a:prstTxWarp>
        <a:spAutoFit/>
      </a:bodyPr>
      <a:lstStyle>
        <a:defPPr marL="285750" indent="-285750">
          <a:spcBef>
            <a:spcPts val="300"/>
          </a:spcBef>
          <a:buClr>
            <a:srgbClr val="0081C6"/>
          </a:buClr>
          <a:buSzPct val="80000"/>
          <a:buFont typeface="Wingdings" panose="05000000000000000000" pitchFamily="2" charset="2"/>
          <a:buChar char="n"/>
          <a:defRPr sz="1400" dirty="0" smtClean="0">
            <a:solidFill>
              <a:srgbClr val="474747"/>
            </a:solidFill>
          </a:defRPr>
        </a:defPPr>
      </a:lstStyle>
    </a:txDef>
  </a:objectDefaults>
  <a:extraClrSchemeLst>
    <a:extraClrScheme>
      <a:clrScheme name="WK.Template_1 1">
        <a:dk1>
          <a:srgbClr val="474747"/>
        </a:dk1>
        <a:lt1>
          <a:srgbClr val="FFFFFF"/>
        </a:lt1>
        <a:dk2>
          <a:srgbClr val="80A7A5"/>
        </a:dk2>
        <a:lt2>
          <a:srgbClr val="061844"/>
        </a:lt2>
        <a:accent1>
          <a:srgbClr val="0768A9"/>
        </a:accent1>
        <a:accent2>
          <a:srgbClr val="6EBB1F"/>
        </a:accent2>
        <a:accent3>
          <a:srgbClr val="FFFFFF"/>
        </a:accent3>
        <a:accent4>
          <a:srgbClr val="3B3B3B"/>
        </a:accent4>
        <a:accent5>
          <a:srgbClr val="AAB9D1"/>
        </a:accent5>
        <a:accent6>
          <a:srgbClr val="63A91B"/>
        </a:accent6>
        <a:hlink>
          <a:srgbClr val="EE014C"/>
        </a:hlink>
        <a:folHlink>
          <a:srgbClr val="FFD1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K.Template_1 2">
        <a:dk1>
          <a:srgbClr val="061844"/>
        </a:dk1>
        <a:lt1>
          <a:srgbClr val="FFFFFF"/>
        </a:lt1>
        <a:dk2>
          <a:srgbClr val="474747"/>
        </a:dk2>
        <a:lt2>
          <a:srgbClr val="80A7A5"/>
        </a:lt2>
        <a:accent1>
          <a:srgbClr val="0768A9"/>
        </a:accent1>
        <a:accent2>
          <a:srgbClr val="6EBB1F"/>
        </a:accent2>
        <a:accent3>
          <a:srgbClr val="B1B1B1"/>
        </a:accent3>
        <a:accent4>
          <a:srgbClr val="DADADA"/>
        </a:accent4>
        <a:accent5>
          <a:srgbClr val="AAB9D1"/>
        </a:accent5>
        <a:accent6>
          <a:srgbClr val="63A91B"/>
        </a:accent6>
        <a:hlink>
          <a:srgbClr val="EE014C"/>
        </a:hlink>
        <a:folHlink>
          <a:srgbClr val="FFD1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EXL Template 6_2013">
  <a:themeElements>
    <a:clrScheme name="EXL 2013">
      <a:dk1>
        <a:srgbClr val="595959"/>
      </a:dk1>
      <a:lt1>
        <a:srgbClr val="FFFFFF"/>
      </a:lt1>
      <a:dk2>
        <a:srgbClr val="000000"/>
      </a:dk2>
      <a:lt2>
        <a:srgbClr val="FFFFFF"/>
      </a:lt2>
      <a:accent1>
        <a:srgbClr val="008ED0"/>
      </a:accent1>
      <a:accent2>
        <a:srgbClr val="66BCE3"/>
      </a:accent2>
      <a:accent3>
        <a:srgbClr val="99D2EC"/>
      </a:accent3>
      <a:accent4>
        <a:srgbClr val="F78C34"/>
      </a:accent4>
      <a:accent5>
        <a:srgbClr val="FAB985"/>
      </a:accent5>
      <a:accent6>
        <a:srgbClr val="FBD1AD"/>
      </a:accent6>
      <a:hlink>
        <a:srgbClr val="008ED0"/>
      </a:hlink>
      <a:folHlink>
        <a:srgbClr val="66BCE3"/>
      </a:folHlink>
    </a:clrScheme>
    <a:fontScheme name="EXL 2013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7B4E4E75ABED44EB2D6B8C1110D7FDC" ma:contentTypeVersion="7" ma:contentTypeDescription="Create a new document." ma:contentTypeScope="" ma:versionID="5be4dea8ad60120317eef18ee6986b41">
  <xsd:schema xmlns:xsd="http://www.w3.org/2001/XMLSchema" xmlns:xs="http://www.w3.org/2001/XMLSchema" xmlns:p="http://schemas.microsoft.com/office/2006/metadata/properties" xmlns:ns2="4e150dad-65a7-4778-9e00-c48b990030fb" xmlns:ns3="343d0e94-4e7c-41c6-b29c-716f058a147e" targetNamespace="http://schemas.microsoft.com/office/2006/metadata/properties" ma:root="true" ma:fieldsID="33fd94d06a477ad1236f50d001640ab6" ns2:_="" ns3:_="">
    <xsd:import namespace="4e150dad-65a7-4778-9e00-c48b990030fb"/>
    <xsd:import namespace="343d0e94-4e7c-41c6-b29c-716f058a147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EventHashCode" minOccurs="0"/>
                <xsd:element ref="ns2:MediaServiceGenerationTim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150dad-65a7-4778-9e00-c48b990030f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43d0e94-4e7c-41c6-b29c-716f058a147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CB94F8B-AE38-4686-BEC3-656AB0E6CFF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e150dad-65a7-4778-9e00-c48b990030fb"/>
    <ds:schemaRef ds:uri="343d0e94-4e7c-41c6-b29c-716f058a14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84A9BB6-B54D-4892-B7D3-81A40F867CEC}">
  <ds:schemaRefs>
    <ds:schemaRef ds:uri="http://schemas.microsoft.com/office/2006/metadata/properties"/>
    <ds:schemaRef ds:uri="4e150dad-65a7-4778-9e00-c48b990030fb"/>
    <ds:schemaRef ds:uri="http://schemas.microsoft.com/office/2006/documentManagement/types"/>
    <ds:schemaRef ds:uri="http://www.w3.org/XML/1998/namespace"/>
    <ds:schemaRef ds:uri="http://purl.org/dc/elements/1.1/"/>
    <ds:schemaRef ds:uri="http://purl.org/dc/terms/"/>
    <ds:schemaRef ds:uri="http://purl.org/dc/dcmitype/"/>
    <ds:schemaRef ds:uri="343d0e94-4e7c-41c6-b29c-716f058a147e"/>
    <ds:schemaRef ds:uri="http://schemas.microsoft.com/office/infopath/2007/PartnerControl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CE8F6070-DAB6-49EC-97E1-580DD95D2AC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7109</TotalTime>
  <Words>773</Words>
  <Application>Microsoft Office PowerPoint</Application>
  <PresentationFormat>Custom</PresentationFormat>
  <Paragraphs>84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8" baseType="lpstr">
      <vt:lpstr>Arial</vt:lpstr>
      <vt:lpstr>Arial MT</vt:lpstr>
      <vt:lpstr>Calibri</vt:lpstr>
      <vt:lpstr>Calibri Light</vt:lpstr>
      <vt:lpstr>Century Gothic</vt:lpstr>
      <vt:lpstr>Trebuchet MS</vt:lpstr>
      <vt:lpstr>Wingdings</vt:lpstr>
      <vt:lpstr>blank</vt:lpstr>
      <vt:lpstr>Custom Design</vt:lpstr>
      <vt:lpstr>1_EXL Template 6_2013</vt:lpstr>
      <vt:lpstr>think-cell Slide</vt:lpstr>
      <vt:lpstr>DevSecOps</vt:lpstr>
      <vt:lpstr>DevSecOps - CI process with Security checks</vt:lpstr>
      <vt:lpstr>DevSecOps - Continuous security validation to CI/CD pipeline – Industry Recommendations</vt:lpstr>
      <vt:lpstr>PowerPoint Presentation</vt:lpstr>
      <vt:lpstr>Coverity and BlackDuck in CI/CD</vt:lpstr>
      <vt:lpstr>DevSecOps: Process description </vt:lpstr>
      <vt:lpstr>DevSecOps: Process description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vSecOps</dc:title>
  <cp:lastModifiedBy>Pulkit Kumar</cp:lastModifiedBy>
  <cp:revision>13</cp:revision>
  <dcterms:modified xsi:type="dcterms:W3CDTF">2022-04-13T02:49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fs.IsStoryboard">
    <vt:bool>true</vt:bool>
  </property>
  <property fmtid="{D5CDD505-2E9C-101B-9397-08002B2CF9AE}" pid="3" name="ContentTypeId">
    <vt:lpwstr>0x010100C7B4E4E75ABED44EB2D6B8C1110D7FDC</vt:lpwstr>
  </property>
  <property fmtid="{D5CDD505-2E9C-101B-9397-08002B2CF9AE}" pid="4" name="TitusGUID">
    <vt:lpwstr>16a10644-4b63-4a7e-a4b5-c570f78709b6</vt:lpwstr>
  </property>
  <property fmtid="{D5CDD505-2E9C-101B-9397-08002B2CF9AE}" pid="5" name="HCLClassD6">
    <vt:lpwstr>False</vt:lpwstr>
  </property>
  <property fmtid="{D5CDD505-2E9C-101B-9397-08002B2CF9AE}" pid="6" name="HCLClassification">
    <vt:lpwstr>HCL_Cla5s_C0nf1dent1al</vt:lpwstr>
  </property>
</Properties>
</file>